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notesSlides/notesSlide5.xml" ContentType="application/vnd.openxmlformats-officedocument.presentationml.notesSlide+xml"/>
  <Override PartName="/ppt/tags/tag43.xml" ContentType="application/vnd.openxmlformats-officedocument.presentationml.tags+xml"/>
  <Override PartName="/ppt/notesSlides/notesSlide6.xml" ContentType="application/vnd.openxmlformats-officedocument.presentationml.notesSlide+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7" r:id="rId4"/>
  </p:sldMasterIdLst>
  <p:notesMasterIdLst>
    <p:notesMasterId r:id="rId16"/>
  </p:notesMasterIdLst>
  <p:sldIdLst>
    <p:sldId id="1968" r:id="rId5"/>
    <p:sldId id="3198" r:id="rId6"/>
    <p:sldId id="3199" r:id="rId7"/>
    <p:sldId id="3204" r:id="rId8"/>
    <p:sldId id="3203" r:id="rId9"/>
    <p:sldId id="3206" r:id="rId10"/>
    <p:sldId id="3207" r:id="rId11"/>
    <p:sldId id="3202" r:id="rId12"/>
    <p:sldId id="3205" r:id="rId13"/>
    <p:sldId id="3208" r:id="rId14"/>
    <p:sldId id="1807" r:id="rId15"/>
  </p:sldIdLst>
  <p:sldSz cx="12193588" cy="6858000"/>
  <p:notesSz cx="6858000" cy="9144000"/>
  <p:custDataLst>
    <p:tags r:id="rId17"/>
  </p:custDataLst>
  <p:defaultTextStyle>
    <a:defPPr>
      <a:defRPr lang="de-DE"/>
    </a:defPPr>
    <a:lvl1pPr marL="0" algn="l" defTabSz="914446" rtl="0" eaLnBrk="1" latinLnBrk="0" hangingPunct="1">
      <a:defRPr sz="1867" kern="1200">
        <a:solidFill>
          <a:schemeClr val="tx1"/>
        </a:solidFill>
        <a:latin typeface="+mn-lt"/>
        <a:ea typeface="+mn-ea"/>
        <a:cs typeface="+mn-cs"/>
      </a:defRPr>
    </a:lvl1pPr>
    <a:lvl2pPr marL="457223" algn="l" defTabSz="914446" rtl="0" eaLnBrk="1" latinLnBrk="0" hangingPunct="1">
      <a:defRPr sz="1867" kern="1200">
        <a:solidFill>
          <a:schemeClr val="tx1"/>
        </a:solidFill>
        <a:latin typeface="+mn-lt"/>
        <a:ea typeface="+mn-ea"/>
        <a:cs typeface="+mn-cs"/>
      </a:defRPr>
    </a:lvl2pPr>
    <a:lvl3pPr marL="914446" algn="l" defTabSz="914446" rtl="0" eaLnBrk="1" latinLnBrk="0" hangingPunct="1">
      <a:defRPr sz="1867" kern="1200">
        <a:solidFill>
          <a:schemeClr val="tx1"/>
        </a:solidFill>
        <a:latin typeface="+mn-lt"/>
        <a:ea typeface="+mn-ea"/>
        <a:cs typeface="+mn-cs"/>
      </a:defRPr>
    </a:lvl3pPr>
    <a:lvl4pPr marL="1371669" algn="l" defTabSz="914446" rtl="0" eaLnBrk="1" latinLnBrk="0" hangingPunct="1">
      <a:defRPr sz="1867" kern="1200">
        <a:solidFill>
          <a:schemeClr val="tx1"/>
        </a:solidFill>
        <a:latin typeface="+mn-lt"/>
        <a:ea typeface="+mn-ea"/>
        <a:cs typeface="+mn-cs"/>
      </a:defRPr>
    </a:lvl4pPr>
    <a:lvl5pPr marL="1828891" algn="l" defTabSz="914446" rtl="0" eaLnBrk="1" latinLnBrk="0" hangingPunct="1">
      <a:defRPr sz="1867" kern="1200">
        <a:solidFill>
          <a:schemeClr val="tx1"/>
        </a:solidFill>
        <a:latin typeface="+mn-lt"/>
        <a:ea typeface="+mn-ea"/>
        <a:cs typeface="+mn-cs"/>
      </a:defRPr>
    </a:lvl5pPr>
    <a:lvl6pPr marL="2286114" algn="l" defTabSz="914446" rtl="0" eaLnBrk="1" latinLnBrk="0" hangingPunct="1">
      <a:defRPr sz="1867" kern="1200">
        <a:solidFill>
          <a:schemeClr val="tx1"/>
        </a:solidFill>
        <a:latin typeface="+mn-lt"/>
        <a:ea typeface="+mn-ea"/>
        <a:cs typeface="+mn-cs"/>
      </a:defRPr>
    </a:lvl6pPr>
    <a:lvl7pPr marL="2743337" algn="l" defTabSz="914446" rtl="0" eaLnBrk="1" latinLnBrk="0" hangingPunct="1">
      <a:defRPr sz="1867" kern="1200">
        <a:solidFill>
          <a:schemeClr val="tx1"/>
        </a:solidFill>
        <a:latin typeface="+mn-lt"/>
        <a:ea typeface="+mn-ea"/>
        <a:cs typeface="+mn-cs"/>
      </a:defRPr>
    </a:lvl7pPr>
    <a:lvl8pPr marL="3200560" algn="l" defTabSz="914446" rtl="0" eaLnBrk="1" latinLnBrk="0" hangingPunct="1">
      <a:defRPr sz="1867" kern="1200">
        <a:solidFill>
          <a:schemeClr val="tx1"/>
        </a:solidFill>
        <a:latin typeface="+mn-lt"/>
        <a:ea typeface="+mn-ea"/>
        <a:cs typeface="+mn-cs"/>
      </a:defRPr>
    </a:lvl8pPr>
    <a:lvl9pPr marL="3657783" algn="l" defTabSz="914446" rtl="0" eaLnBrk="1" latinLnBrk="0" hangingPunct="1">
      <a:defRPr sz="1867" kern="1200">
        <a:solidFill>
          <a:schemeClr val="tx1"/>
        </a:solidFill>
        <a:latin typeface="+mn-lt"/>
        <a:ea typeface="+mn-ea"/>
        <a:cs typeface="+mn-cs"/>
      </a:defRPr>
    </a:lvl9pPr>
  </p:defaultTextStyle>
  <p:extLst>
    <p:ext uri="{EFAFB233-063F-42B5-8137-9DF3F51BA10A}">
      <p15:sldGuideLst xmlns:p15="http://schemas.microsoft.com/office/powerpoint/2012/main">
        <p15:guide id="1" pos="5806" userDrawn="1">
          <p15:clr>
            <a:srgbClr val="A4A3A4"/>
          </p15:clr>
        </p15:guide>
        <p15:guide id="2"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mur Sattarov" initials="T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670C"/>
    <a:srgbClr val="7BBFD7"/>
    <a:srgbClr val="ACD7E6"/>
    <a:srgbClr val="9393E9"/>
    <a:srgbClr val="C0C0F2"/>
    <a:srgbClr val="EBEBFB"/>
    <a:srgbClr val="780078"/>
    <a:srgbClr val="212393"/>
    <a:srgbClr val="97F097"/>
    <a:srgbClr val="FA88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926B28-3B9F-7845-BCEE-10B49B35E7D1}" v="604" dt="2023-05-22T11:37:26.132"/>
    <p1510:client id="{B011BF60-E402-AA48-95E6-7F3AC285AC26}" v="49" dt="2023-05-22T11:18:28.336"/>
    <p1510:client id="{FC696E18-0A10-4FBD-8DFE-C01F0BA68B5B}" v="15" dt="2023-05-22T08:12:41.0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5806"/>
        <p:guide orient="horz" pos="216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fammatter, Florence" userId="52ee0349-382c-4ec9-879a-6cd059ae8008" providerId="ADAL" clId="{88926B28-3B9F-7845-BCEE-10B49B35E7D1}"/>
    <pc:docChg chg="undo custSel addSld modSld">
      <pc:chgData name="Pfammatter, Florence" userId="52ee0349-382c-4ec9-879a-6cd059ae8008" providerId="ADAL" clId="{88926B28-3B9F-7845-BCEE-10B49B35E7D1}" dt="2023-05-22T11:37:26.133" v="2502" actId="20577"/>
      <pc:docMkLst>
        <pc:docMk/>
      </pc:docMkLst>
      <pc:sldChg chg="modSp">
        <pc:chgData name="Pfammatter, Florence" userId="52ee0349-382c-4ec9-879a-6cd059ae8008" providerId="ADAL" clId="{88926B28-3B9F-7845-BCEE-10B49B35E7D1}" dt="2023-05-18T15:26:41.106" v="455" actId="1076"/>
        <pc:sldMkLst>
          <pc:docMk/>
          <pc:sldMk cId="277383891" sldId="3200"/>
        </pc:sldMkLst>
        <pc:spChg chg="mod">
          <ac:chgData name="Pfammatter, Florence" userId="52ee0349-382c-4ec9-879a-6cd059ae8008" providerId="ADAL" clId="{88926B28-3B9F-7845-BCEE-10B49B35E7D1}" dt="2023-05-18T15:26:41.106" v="455" actId="1076"/>
          <ac:spMkLst>
            <pc:docMk/>
            <pc:sldMk cId="277383891" sldId="3200"/>
            <ac:spMk id="23" creationId="{D8D1CB1F-DB28-4E57-8007-60625ADFEAB3}"/>
          </ac:spMkLst>
        </pc:spChg>
        <pc:grpChg chg="mod">
          <ac:chgData name="Pfammatter, Florence" userId="52ee0349-382c-4ec9-879a-6cd059ae8008" providerId="ADAL" clId="{88926B28-3B9F-7845-BCEE-10B49B35E7D1}" dt="2023-05-18T15:26:41.106" v="455" actId="1076"/>
          <ac:grpSpMkLst>
            <pc:docMk/>
            <pc:sldMk cId="277383891" sldId="3200"/>
            <ac:grpSpMk id="36" creationId="{A8FF1D11-3592-4F6D-9D67-9AF02F1398A1}"/>
          </ac:grpSpMkLst>
        </pc:grpChg>
        <pc:cxnChg chg="mod">
          <ac:chgData name="Pfammatter, Florence" userId="52ee0349-382c-4ec9-879a-6cd059ae8008" providerId="ADAL" clId="{88926B28-3B9F-7845-BCEE-10B49B35E7D1}" dt="2023-05-18T15:26:41.106" v="455" actId="1076"/>
          <ac:cxnSpMkLst>
            <pc:docMk/>
            <pc:sldMk cId="277383891" sldId="3200"/>
            <ac:cxnSpMk id="24" creationId="{06F6436E-7B3C-41B2-9F86-C893DD390BC6}"/>
          </ac:cxnSpMkLst>
        </pc:cxnChg>
      </pc:sldChg>
      <pc:sldChg chg="modSp mod modNotesTx">
        <pc:chgData name="Pfammatter, Florence" userId="52ee0349-382c-4ec9-879a-6cd059ae8008" providerId="ADAL" clId="{88926B28-3B9F-7845-BCEE-10B49B35E7D1}" dt="2023-05-22T11:37:10.364" v="2500"/>
        <pc:sldMkLst>
          <pc:docMk/>
          <pc:sldMk cId="2706460313" sldId="3202"/>
        </pc:sldMkLst>
        <pc:spChg chg="mod">
          <ac:chgData name="Pfammatter, Florence" userId="52ee0349-382c-4ec9-879a-6cd059ae8008" providerId="ADAL" clId="{88926B28-3B9F-7845-BCEE-10B49B35E7D1}" dt="2023-05-21T09:59:58.858" v="2360"/>
          <ac:spMkLst>
            <pc:docMk/>
            <pc:sldMk cId="2706460313" sldId="3202"/>
            <ac:spMk id="2" creationId="{F15578C2-69FE-45D8-BFDA-564ECE604515}"/>
          </ac:spMkLst>
        </pc:spChg>
        <pc:spChg chg="mod">
          <ac:chgData name="Pfammatter, Florence" userId="52ee0349-382c-4ec9-879a-6cd059ae8008" providerId="ADAL" clId="{88926B28-3B9F-7845-BCEE-10B49B35E7D1}" dt="2023-05-21T09:59:58.858" v="2360"/>
          <ac:spMkLst>
            <pc:docMk/>
            <pc:sldMk cId="2706460313" sldId="3202"/>
            <ac:spMk id="4" creationId="{BBDA29AB-838E-43DB-BD0C-02DAD3B5E38D}"/>
          </ac:spMkLst>
        </pc:spChg>
        <pc:spChg chg="mod">
          <ac:chgData name="Pfammatter, Florence" userId="52ee0349-382c-4ec9-879a-6cd059ae8008" providerId="ADAL" clId="{88926B28-3B9F-7845-BCEE-10B49B35E7D1}" dt="2023-05-21T09:59:58.858" v="2360"/>
          <ac:spMkLst>
            <pc:docMk/>
            <pc:sldMk cId="2706460313" sldId="3202"/>
            <ac:spMk id="5" creationId="{E12A9ADB-C796-4FA3-9F00-29440A8FA820}"/>
          </ac:spMkLst>
        </pc:spChg>
        <pc:spChg chg="mod">
          <ac:chgData name="Pfammatter, Florence" userId="52ee0349-382c-4ec9-879a-6cd059ae8008" providerId="ADAL" clId="{88926B28-3B9F-7845-BCEE-10B49B35E7D1}" dt="2023-05-21T09:59:58.858" v="2360"/>
          <ac:spMkLst>
            <pc:docMk/>
            <pc:sldMk cId="2706460313" sldId="3202"/>
            <ac:spMk id="9" creationId="{FCBE9D71-A20D-440E-81BE-2E6D19656D7D}"/>
          </ac:spMkLst>
        </pc:spChg>
        <pc:spChg chg="mod">
          <ac:chgData name="Pfammatter, Florence" userId="52ee0349-382c-4ec9-879a-6cd059ae8008" providerId="ADAL" clId="{88926B28-3B9F-7845-BCEE-10B49B35E7D1}" dt="2023-05-21T09:59:58.858" v="2360"/>
          <ac:spMkLst>
            <pc:docMk/>
            <pc:sldMk cId="2706460313" sldId="3202"/>
            <ac:spMk id="10" creationId="{DFC77A0B-26AE-4069-B9F6-C61EC4BE03A6}"/>
          </ac:spMkLst>
        </pc:spChg>
        <pc:spChg chg="mod">
          <ac:chgData name="Pfammatter, Florence" userId="52ee0349-382c-4ec9-879a-6cd059ae8008" providerId="ADAL" clId="{88926B28-3B9F-7845-BCEE-10B49B35E7D1}" dt="2023-05-21T09:59:58.858" v="2360"/>
          <ac:spMkLst>
            <pc:docMk/>
            <pc:sldMk cId="2706460313" sldId="3202"/>
            <ac:spMk id="11" creationId="{3C82B961-BD4C-41B5-81DC-15F938002DB5}"/>
          </ac:spMkLst>
        </pc:spChg>
        <pc:spChg chg="mod">
          <ac:chgData name="Pfammatter, Florence" userId="52ee0349-382c-4ec9-879a-6cd059ae8008" providerId="ADAL" clId="{88926B28-3B9F-7845-BCEE-10B49B35E7D1}" dt="2023-05-21T09:59:58.858" v="2360"/>
          <ac:spMkLst>
            <pc:docMk/>
            <pc:sldMk cId="2706460313" sldId="3202"/>
            <ac:spMk id="12" creationId="{5F002586-1CEA-496D-A244-DD7DF1532C10}"/>
          </ac:spMkLst>
        </pc:spChg>
        <pc:spChg chg="mod">
          <ac:chgData name="Pfammatter, Florence" userId="52ee0349-382c-4ec9-879a-6cd059ae8008" providerId="ADAL" clId="{88926B28-3B9F-7845-BCEE-10B49B35E7D1}" dt="2023-05-21T09:59:58.858" v="2360"/>
          <ac:spMkLst>
            <pc:docMk/>
            <pc:sldMk cId="2706460313" sldId="3202"/>
            <ac:spMk id="13" creationId="{89951721-4FCD-40FA-AA27-387B8B3D21D1}"/>
          </ac:spMkLst>
        </pc:spChg>
        <pc:spChg chg="mod">
          <ac:chgData name="Pfammatter, Florence" userId="52ee0349-382c-4ec9-879a-6cd059ae8008" providerId="ADAL" clId="{88926B28-3B9F-7845-BCEE-10B49B35E7D1}" dt="2023-05-21T09:59:58.858" v="2360"/>
          <ac:spMkLst>
            <pc:docMk/>
            <pc:sldMk cId="2706460313" sldId="3202"/>
            <ac:spMk id="14" creationId="{2B9A8BF4-60BC-4CA3-8518-02CCDEC79C33}"/>
          </ac:spMkLst>
        </pc:spChg>
        <pc:spChg chg="mod">
          <ac:chgData name="Pfammatter, Florence" userId="52ee0349-382c-4ec9-879a-6cd059ae8008" providerId="ADAL" clId="{88926B28-3B9F-7845-BCEE-10B49B35E7D1}" dt="2023-05-21T09:59:58.858" v="2360"/>
          <ac:spMkLst>
            <pc:docMk/>
            <pc:sldMk cId="2706460313" sldId="3202"/>
            <ac:spMk id="16" creationId="{A1182B9A-C9A6-4847-BF82-DF3FCAC94F3D}"/>
          </ac:spMkLst>
        </pc:spChg>
        <pc:spChg chg="mod">
          <ac:chgData name="Pfammatter, Florence" userId="52ee0349-382c-4ec9-879a-6cd059ae8008" providerId="ADAL" clId="{88926B28-3B9F-7845-BCEE-10B49B35E7D1}" dt="2023-05-21T09:59:58.858" v="2360"/>
          <ac:spMkLst>
            <pc:docMk/>
            <pc:sldMk cId="2706460313" sldId="3202"/>
            <ac:spMk id="17" creationId="{1218BA04-9832-423F-B517-24F36B710E7D}"/>
          </ac:spMkLst>
        </pc:spChg>
        <pc:spChg chg="mod">
          <ac:chgData name="Pfammatter, Florence" userId="52ee0349-382c-4ec9-879a-6cd059ae8008" providerId="ADAL" clId="{88926B28-3B9F-7845-BCEE-10B49B35E7D1}" dt="2023-05-21T09:59:58.858" v="2360"/>
          <ac:spMkLst>
            <pc:docMk/>
            <pc:sldMk cId="2706460313" sldId="3202"/>
            <ac:spMk id="18" creationId="{92C3D86C-A091-499F-AA8F-9E9871CE572F}"/>
          </ac:spMkLst>
        </pc:spChg>
        <pc:spChg chg="mod">
          <ac:chgData name="Pfammatter, Florence" userId="52ee0349-382c-4ec9-879a-6cd059ae8008" providerId="ADAL" clId="{88926B28-3B9F-7845-BCEE-10B49B35E7D1}" dt="2023-05-21T09:59:58.858" v="2360"/>
          <ac:spMkLst>
            <pc:docMk/>
            <pc:sldMk cId="2706460313" sldId="3202"/>
            <ac:spMk id="19" creationId="{D622A2B5-9F76-41B0-B83E-0452E18E0E41}"/>
          </ac:spMkLst>
        </pc:spChg>
        <pc:spChg chg="mod">
          <ac:chgData name="Pfammatter, Florence" userId="52ee0349-382c-4ec9-879a-6cd059ae8008" providerId="ADAL" clId="{88926B28-3B9F-7845-BCEE-10B49B35E7D1}" dt="2023-05-21T09:59:58.858" v="2360"/>
          <ac:spMkLst>
            <pc:docMk/>
            <pc:sldMk cId="2706460313" sldId="3202"/>
            <ac:spMk id="20" creationId="{67D46BB6-D13E-4545-9DE6-8264E578AA8A}"/>
          </ac:spMkLst>
        </pc:spChg>
        <pc:spChg chg="mod">
          <ac:chgData name="Pfammatter, Florence" userId="52ee0349-382c-4ec9-879a-6cd059ae8008" providerId="ADAL" clId="{88926B28-3B9F-7845-BCEE-10B49B35E7D1}" dt="2023-05-21T09:59:58.858" v="2360"/>
          <ac:spMkLst>
            <pc:docMk/>
            <pc:sldMk cId="2706460313" sldId="3202"/>
            <ac:spMk id="26" creationId="{C6E2AEA9-0F2F-4DD8-9E6B-AF05382077ED}"/>
          </ac:spMkLst>
        </pc:spChg>
        <pc:spChg chg="mod">
          <ac:chgData name="Pfammatter, Florence" userId="52ee0349-382c-4ec9-879a-6cd059ae8008" providerId="ADAL" clId="{88926B28-3B9F-7845-BCEE-10B49B35E7D1}" dt="2023-05-21T09:59:58.858" v="2360"/>
          <ac:spMkLst>
            <pc:docMk/>
            <pc:sldMk cId="2706460313" sldId="3202"/>
            <ac:spMk id="27" creationId="{6AD0BD74-75C7-4A5A-BE07-05085165DCE6}"/>
          </ac:spMkLst>
        </pc:spChg>
        <pc:spChg chg="mod">
          <ac:chgData name="Pfammatter, Florence" userId="52ee0349-382c-4ec9-879a-6cd059ae8008" providerId="ADAL" clId="{88926B28-3B9F-7845-BCEE-10B49B35E7D1}" dt="2023-05-21T09:59:58.858" v="2360"/>
          <ac:spMkLst>
            <pc:docMk/>
            <pc:sldMk cId="2706460313" sldId="3202"/>
            <ac:spMk id="28" creationId="{5B36930A-2A3D-4974-BDCC-7CC29D73E321}"/>
          </ac:spMkLst>
        </pc:spChg>
        <pc:spChg chg="mod">
          <ac:chgData name="Pfammatter, Florence" userId="52ee0349-382c-4ec9-879a-6cd059ae8008" providerId="ADAL" clId="{88926B28-3B9F-7845-BCEE-10B49B35E7D1}" dt="2023-05-21T09:59:58.858" v="2360"/>
          <ac:spMkLst>
            <pc:docMk/>
            <pc:sldMk cId="2706460313" sldId="3202"/>
            <ac:spMk id="29" creationId="{52B50E75-E4C2-4A4A-A26B-FE8C54232B80}"/>
          </ac:spMkLst>
        </pc:spChg>
        <pc:spChg chg="mod">
          <ac:chgData name="Pfammatter, Florence" userId="52ee0349-382c-4ec9-879a-6cd059ae8008" providerId="ADAL" clId="{88926B28-3B9F-7845-BCEE-10B49B35E7D1}" dt="2023-05-21T09:59:58.858" v="2360"/>
          <ac:spMkLst>
            <pc:docMk/>
            <pc:sldMk cId="2706460313" sldId="3202"/>
            <ac:spMk id="30" creationId="{847CAEA7-42AA-4ED0-B605-B7D31A7C901F}"/>
          </ac:spMkLst>
        </pc:spChg>
        <pc:spChg chg="mod">
          <ac:chgData name="Pfammatter, Florence" userId="52ee0349-382c-4ec9-879a-6cd059ae8008" providerId="ADAL" clId="{88926B28-3B9F-7845-BCEE-10B49B35E7D1}" dt="2023-05-21T09:59:58.858" v="2360"/>
          <ac:spMkLst>
            <pc:docMk/>
            <pc:sldMk cId="2706460313" sldId="3202"/>
            <ac:spMk id="31" creationId="{316C5857-756B-4FE0-BB48-7E7823F0D559}"/>
          </ac:spMkLst>
        </pc:spChg>
        <pc:spChg chg="mod">
          <ac:chgData name="Pfammatter, Florence" userId="52ee0349-382c-4ec9-879a-6cd059ae8008" providerId="ADAL" clId="{88926B28-3B9F-7845-BCEE-10B49B35E7D1}" dt="2023-05-21T09:59:58.858" v="2360"/>
          <ac:spMkLst>
            <pc:docMk/>
            <pc:sldMk cId="2706460313" sldId="3202"/>
            <ac:spMk id="34" creationId="{C1A02B3D-4C04-4935-8549-AD1324808543}"/>
          </ac:spMkLst>
        </pc:spChg>
        <pc:spChg chg="mod">
          <ac:chgData name="Pfammatter, Florence" userId="52ee0349-382c-4ec9-879a-6cd059ae8008" providerId="ADAL" clId="{88926B28-3B9F-7845-BCEE-10B49B35E7D1}" dt="2023-05-21T09:59:58.858" v="2360"/>
          <ac:spMkLst>
            <pc:docMk/>
            <pc:sldMk cId="2706460313" sldId="3202"/>
            <ac:spMk id="35" creationId="{7A3CBDDB-7C34-4170-BB42-BF151D82A801}"/>
          </ac:spMkLst>
        </pc:spChg>
        <pc:spChg chg="mod">
          <ac:chgData name="Pfammatter, Florence" userId="52ee0349-382c-4ec9-879a-6cd059ae8008" providerId="ADAL" clId="{88926B28-3B9F-7845-BCEE-10B49B35E7D1}" dt="2023-05-21T09:59:58.858" v="2360"/>
          <ac:spMkLst>
            <pc:docMk/>
            <pc:sldMk cId="2706460313" sldId="3202"/>
            <ac:spMk id="36" creationId="{556CC11C-F5BA-4FB4-96B0-419CAABA5BB3}"/>
          </ac:spMkLst>
        </pc:spChg>
        <pc:spChg chg="mod">
          <ac:chgData name="Pfammatter, Florence" userId="52ee0349-382c-4ec9-879a-6cd059ae8008" providerId="ADAL" clId="{88926B28-3B9F-7845-BCEE-10B49B35E7D1}" dt="2023-05-21T09:59:58.858" v="2360"/>
          <ac:spMkLst>
            <pc:docMk/>
            <pc:sldMk cId="2706460313" sldId="3202"/>
            <ac:spMk id="37" creationId="{6ABC845D-0CB6-4893-95E6-F4CA1F1A463F}"/>
          </ac:spMkLst>
        </pc:spChg>
        <pc:grpChg chg="mod">
          <ac:chgData name="Pfammatter, Florence" userId="52ee0349-382c-4ec9-879a-6cd059ae8008" providerId="ADAL" clId="{88926B28-3B9F-7845-BCEE-10B49B35E7D1}" dt="2023-05-21T09:59:58.858" v="2360"/>
          <ac:grpSpMkLst>
            <pc:docMk/>
            <pc:sldMk cId="2706460313" sldId="3202"/>
            <ac:grpSpMk id="1" creationId="{00000000-0000-0000-0000-000000000000}"/>
          </ac:grpSpMkLst>
        </pc:grpChg>
        <pc:graphicFrameChg chg="mod">
          <ac:chgData name="Pfammatter, Florence" userId="52ee0349-382c-4ec9-879a-6cd059ae8008" providerId="ADAL" clId="{88926B28-3B9F-7845-BCEE-10B49B35E7D1}" dt="2023-05-21T09:59:58.858" v="2360"/>
          <ac:graphicFrameMkLst>
            <pc:docMk/>
            <pc:sldMk cId="2706460313" sldId="3202"/>
            <ac:graphicFrameMk id="6" creationId="{2AB758C9-F349-4BFD-8719-37AC5DAA009D}"/>
          </ac:graphicFrameMkLst>
        </pc:graphicFrameChg>
        <pc:picChg chg="mod">
          <ac:chgData name="Pfammatter, Florence" userId="52ee0349-382c-4ec9-879a-6cd059ae8008" providerId="ADAL" clId="{88926B28-3B9F-7845-BCEE-10B49B35E7D1}" dt="2023-05-21T09:59:58.858" v="2360"/>
          <ac:picMkLst>
            <pc:docMk/>
            <pc:sldMk cId="2706460313" sldId="3202"/>
            <ac:picMk id="22" creationId="{035503C4-0A90-466C-AB09-F53618C086AF}"/>
          </ac:picMkLst>
        </pc:picChg>
        <pc:picChg chg="mod">
          <ac:chgData name="Pfammatter, Florence" userId="52ee0349-382c-4ec9-879a-6cd059ae8008" providerId="ADAL" clId="{88926B28-3B9F-7845-BCEE-10B49B35E7D1}" dt="2023-05-21T09:59:58.858" v="2360"/>
          <ac:picMkLst>
            <pc:docMk/>
            <pc:sldMk cId="2706460313" sldId="3202"/>
            <ac:picMk id="24" creationId="{3E2AA6DB-7E3F-46B7-8B6C-56EFC94A873C}"/>
          </ac:picMkLst>
        </pc:picChg>
        <pc:picChg chg="mod">
          <ac:chgData name="Pfammatter, Florence" userId="52ee0349-382c-4ec9-879a-6cd059ae8008" providerId="ADAL" clId="{88926B28-3B9F-7845-BCEE-10B49B35E7D1}" dt="2023-05-21T09:59:58.858" v="2360"/>
          <ac:picMkLst>
            <pc:docMk/>
            <pc:sldMk cId="2706460313" sldId="3202"/>
            <ac:picMk id="39" creationId="{8004D3C2-BFFB-4739-ABE4-0995EC4E3FC6}"/>
          </ac:picMkLst>
        </pc:picChg>
        <pc:picChg chg="mod">
          <ac:chgData name="Pfammatter, Florence" userId="52ee0349-382c-4ec9-879a-6cd059ae8008" providerId="ADAL" clId="{88926B28-3B9F-7845-BCEE-10B49B35E7D1}" dt="2023-05-21T09:59:58.858" v="2360"/>
          <ac:picMkLst>
            <pc:docMk/>
            <pc:sldMk cId="2706460313" sldId="3202"/>
            <ac:picMk id="41" creationId="{9411F13A-1328-4594-86AE-BB48C34075B2}"/>
          </ac:picMkLst>
        </pc:picChg>
        <pc:picChg chg="mod">
          <ac:chgData name="Pfammatter, Florence" userId="52ee0349-382c-4ec9-879a-6cd059ae8008" providerId="ADAL" clId="{88926B28-3B9F-7845-BCEE-10B49B35E7D1}" dt="2023-05-21T09:59:58.858" v="2360"/>
          <ac:picMkLst>
            <pc:docMk/>
            <pc:sldMk cId="2706460313" sldId="3202"/>
            <ac:picMk id="43" creationId="{8FB70335-3D96-470D-AFC7-2F477DA9954F}"/>
          </ac:picMkLst>
        </pc:picChg>
      </pc:sldChg>
      <pc:sldChg chg="addSp delSp modSp mod modNotesTx">
        <pc:chgData name="Pfammatter, Florence" userId="52ee0349-382c-4ec9-879a-6cd059ae8008" providerId="ADAL" clId="{88926B28-3B9F-7845-BCEE-10B49B35E7D1}" dt="2023-05-22T11:36:50.472" v="2499"/>
        <pc:sldMkLst>
          <pc:docMk/>
          <pc:sldMk cId="19961751" sldId="3203"/>
        </pc:sldMkLst>
        <pc:spChg chg="add mod">
          <ac:chgData name="Pfammatter, Florence" userId="52ee0349-382c-4ec9-879a-6cd059ae8008" providerId="ADAL" clId="{88926B28-3B9F-7845-BCEE-10B49B35E7D1}" dt="2023-05-18T15:25:38.137" v="446" actId="1035"/>
          <ac:spMkLst>
            <pc:docMk/>
            <pc:sldMk cId="19961751" sldId="3203"/>
            <ac:spMk id="6" creationId="{136CAF8E-40DE-3826-B28A-971F0A2D572C}"/>
          </ac:spMkLst>
        </pc:spChg>
        <pc:spChg chg="add mod">
          <ac:chgData name="Pfammatter, Florence" userId="52ee0349-382c-4ec9-879a-6cd059ae8008" providerId="ADAL" clId="{88926B28-3B9F-7845-BCEE-10B49B35E7D1}" dt="2023-05-18T15:24:35.422" v="441" actId="207"/>
          <ac:spMkLst>
            <pc:docMk/>
            <pc:sldMk cId="19961751" sldId="3203"/>
            <ac:spMk id="8" creationId="{148A804B-D517-2C3B-2412-DFA3E489F5EB}"/>
          </ac:spMkLst>
        </pc:spChg>
        <pc:spChg chg="mod">
          <ac:chgData name="Pfammatter, Florence" userId="52ee0349-382c-4ec9-879a-6cd059ae8008" providerId="ADAL" clId="{88926B28-3B9F-7845-BCEE-10B49B35E7D1}" dt="2023-05-20T16:46:05.062" v="2020"/>
          <ac:spMkLst>
            <pc:docMk/>
            <pc:sldMk cId="19961751" sldId="3203"/>
            <ac:spMk id="9" creationId="{07A5DDB9-8868-EC57-D9AB-A06C91552EBB}"/>
          </ac:spMkLst>
        </pc:spChg>
        <pc:spChg chg="add mod">
          <ac:chgData name="Pfammatter, Florence" userId="52ee0349-382c-4ec9-879a-6cd059ae8008" providerId="ADAL" clId="{88926B28-3B9F-7845-BCEE-10B49B35E7D1}" dt="2023-05-18T15:24:35.422" v="441" actId="207"/>
          <ac:spMkLst>
            <pc:docMk/>
            <pc:sldMk cId="19961751" sldId="3203"/>
            <ac:spMk id="11" creationId="{CE67962E-3122-11BA-3880-0234650BA76F}"/>
          </ac:spMkLst>
        </pc:spChg>
        <pc:spChg chg="add del mod">
          <ac:chgData name="Pfammatter, Florence" userId="52ee0349-382c-4ec9-879a-6cd059ae8008" providerId="ADAL" clId="{88926B28-3B9F-7845-BCEE-10B49B35E7D1}" dt="2023-05-18T15:01:09.258" v="386" actId="478"/>
          <ac:spMkLst>
            <pc:docMk/>
            <pc:sldMk cId="19961751" sldId="3203"/>
            <ac:spMk id="12" creationId="{6170D8C8-7ED2-4589-AF2C-63B538F6E927}"/>
          </ac:spMkLst>
        </pc:spChg>
        <pc:spChg chg="add mod">
          <ac:chgData name="Pfammatter, Florence" userId="52ee0349-382c-4ec9-879a-6cd059ae8008" providerId="ADAL" clId="{88926B28-3B9F-7845-BCEE-10B49B35E7D1}" dt="2023-05-18T15:24:50.953" v="443" actId="207"/>
          <ac:spMkLst>
            <pc:docMk/>
            <pc:sldMk cId="19961751" sldId="3203"/>
            <ac:spMk id="13" creationId="{BA79EA3F-B102-1D45-3C00-347F78FE19D3}"/>
          </ac:spMkLst>
        </pc:spChg>
        <pc:spChg chg="add mod">
          <ac:chgData name="Pfammatter, Florence" userId="52ee0349-382c-4ec9-879a-6cd059ae8008" providerId="ADAL" clId="{88926B28-3B9F-7845-BCEE-10B49B35E7D1}" dt="2023-05-18T15:25:45.563" v="451" actId="1035"/>
          <ac:spMkLst>
            <pc:docMk/>
            <pc:sldMk cId="19961751" sldId="3203"/>
            <ac:spMk id="14" creationId="{C5CF6376-442B-B921-47AB-B3B15F4F91F1}"/>
          </ac:spMkLst>
        </pc:spChg>
        <pc:spChg chg="add mod">
          <ac:chgData name="Pfammatter, Florence" userId="52ee0349-382c-4ec9-879a-6cd059ae8008" providerId="ADAL" clId="{88926B28-3B9F-7845-BCEE-10B49B35E7D1}" dt="2023-05-18T15:21:58.052" v="438" actId="1076"/>
          <ac:spMkLst>
            <pc:docMk/>
            <pc:sldMk cId="19961751" sldId="3203"/>
            <ac:spMk id="15" creationId="{FFB1EA8C-B4FB-9694-47A6-46DDF9E0E1E7}"/>
          </ac:spMkLst>
        </pc:spChg>
        <pc:spChg chg="add mod">
          <ac:chgData name="Pfammatter, Florence" userId="52ee0349-382c-4ec9-879a-6cd059ae8008" providerId="ADAL" clId="{88926B28-3B9F-7845-BCEE-10B49B35E7D1}" dt="2023-05-18T15:25:30.105" v="445" actId="207"/>
          <ac:spMkLst>
            <pc:docMk/>
            <pc:sldMk cId="19961751" sldId="3203"/>
            <ac:spMk id="16" creationId="{53AD6B1C-D880-6A10-FED8-4F6F1A3F3670}"/>
          </ac:spMkLst>
        </pc:spChg>
        <pc:spChg chg="mod">
          <ac:chgData name="Pfammatter, Florence" userId="52ee0349-382c-4ec9-879a-6cd059ae8008" providerId="ADAL" clId="{88926B28-3B9F-7845-BCEE-10B49B35E7D1}" dt="2023-05-20T16:46:05.062" v="2020"/>
          <ac:spMkLst>
            <pc:docMk/>
            <pc:sldMk cId="19961751" sldId="3203"/>
            <ac:spMk id="20" creationId="{38A6A296-F785-C78A-D72E-AA6043BD9E0D}"/>
          </ac:spMkLst>
        </pc:spChg>
        <pc:spChg chg="mod">
          <ac:chgData name="Pfammatter, Florence" userId="52ee0349-382c-4ec9-879a-6cd059ae8008" providerId="ADAL" clId="{88926B28-3B9F-7845-BCEE-10B49B35E7D1}" dt="2023-05-20T16:51:13.678" v="2095" actId="1076"/>
          <ac:spMkLst>
            <pc:docMk/>
            <pc:sldMk cId="19961751" sldId="3203"/>
            <ac:spMk id="23" creationId="{21705F89-7E93-1D6F-1C8B-6E04EAD8A079}"/>
          </ac:spMkLst>
        </pc:spChg>
        <pc:spChg chg="add mod">
          <ac:chgData name="Pfammatter, Florence" userId="52ee0349-382c-4ec9-879a-6cd059ae8008" providerId="ADAL" clId="{88926B28-3B9F-7845-BCEE-10B49B35E7D1}" dt="2023-05-20T16:46:05.062" v="2020"/>
          <ac:spMkLst>
            <pc:docMk/>
            <pc:sldMk cId="19961751" sldId="3203"/>
            <ac:spMk id="25" creationId="{81456BD1-CE70-DF32-5BF0-A7E4854916D0}"/>
          </ac:spMkLst>
        </pc:spChg>
        <pc:spChg chg="add mod">
          <ac:chgData name="Pfammatter, Florence" userId="52ee0349-382c-4ec9-879a-6cd059ae8008" providerId="ADAL" clId="{88926B28-3B9F-7845-BCEE-10B49B35E7D1}" dt="2023-05-20T16:58:20.473" v="2299" actId="20577"/>
          <ac:spMkLst>
            <pc:docMk/>
            <pc:sldMk cId="19961751" sldId="3203"/>
            <ac:spMk id="26" creationId="{229E5B80-A052-0637-6D14-C2178D292030}"/>
          </ac:spMkLst>
        </pc:spChg>
        <pc:spChg chg="add mod">
          <ac:chgData name="Pfammatter, Florence" userId="52ee0349-382c-4ec9-879a-6cd059ae8008" providerId="ADAL" clId="{88926B28-3B9F-7845-BCEE-10B49B35E7D1}" dt="2023-05-20T16:58:48.769" v="2359" actId="20577"/>
          <ac:spMkLst>
            <pc:docMk/>
            <pc:sldMk cId="19961751" sldId="3203"/>
            <ac:spMk id="27" creationId="{A76117BA-A889-6AC9-FEA8-8C0322D5D198}"/>
          </ac:spMkLst>
        </pc:spChg>
        <pc:spChg chg="add del mod">
          <ac:chgData name="Pfammatter, Florence" userId="52ee0349-382c-4ec9-879a-6cd059ae8008" providerId="ADAL" clId="{88926B28-3B9F-7845-BCEE-10B49B35E7D1}" dt="2023-05-20T16:47:05.322" v="2025" actId="767"/>
          <ac:spMkLst>
            <pc:docMk/>
            <pc:sldMk cId="19961751" sldId="3203"/>
            <ac:spMk id="28" creationId="{632F32DA-BDE3-5F80-3CAB-A6869386EEB2}"/>
          </ac:spMkLst>
        </pc:spChg>
        <pc:spChg chg="add mod">
          <ac:chgData name="Pfammatter, Florence" userId="52ee0349-382c-4ec9-879a-6cd059ae8008" providerId="ADAL" clId="{88926B28-3B9F-7845-BCEE-10B49B35E7D1}" dt="2023-05-20T16:55:33.264" v="2252" actId="108"/>
          <ac:spMkLst>
            <pc:docMk/>
            <pc:sldMk cId="19961751" sldId="3203"/>
            <ac:spMk id="29" creationId="{DEB41A6D-19F2-C8AF-D1E0-A72939E043F6}"/>
          </ac:spMkLst>
        </pc:spChg>
        <pc:spChg chg="mod">
          <ac:chgData name="Pfammatter, Florence" userId="52ee0349-382c-4ec9-879a-6cd059ae8008" providerId="ADAL" clId="{88926B28-3B9F-7845-BCEE-10B49B35E7D1}" dt="2023-05-22T08:42:42.835" v="2362" actId="1035"/>
          <ac:spMkLst>
            <pc:docMk/>
            <pc:sldMk cId="19961751" sldId="3203"/>
            <ac:spMk id="34" creationId="{7AEAEC9C-E703-466A-D543-619DC6321DB4}"/>
          </ac:spMkLst>
        </pc:spChg>
        <pc:grpChg chg="add mod">
          <ac:chgData name="Pfammatter, Florence" userId="52ee0349-382c-4ec9-879a-6cd059ae8008" providerId="ADAL" clId="{88926B28-3B9F-7845-BCEE-10B49B35E7D1}" dt="2023-05-20T16:46:05.062" v="2020"/>
          <ac:grpSpMkLst>
            <pc:docMk/>
            <pc:sldMk cId="19961751" sldId="3203"/>
            <ac:grpSpMk id="3" creationId="{AE9D93F1-86CD-1952-A0BD-78BE8DA7A77F}"/>
          </ac:grpSpMkLst>
        </pc:grpChg>
        <pc:grpChg chg="add mod">
          <ac:chgData name="Pfammatter, Florence" userId="52ee0349-382c-4ec9-879a-6cd059ae8008" providerId="ADAL" clId="{88926B28-3B9F-7845-BCEE-10B49B35E7D1}" dt="2023-05-20T16:46:05.062" v="2020"/>
          <ac:grpSpMkLst>
            <pc:docMk/>
            <pc:sldMk cId="19961751" sldId="3203"/>
            <ac:grpSpMk id="12" creationId="{E9242151-C117-6FDB-8D12-EE15FE45AD77}"/>
          </ac:grpSpMkLst>
        </pc:grpChg>
        <pc:grpChg chg="add mod">
          <ac:chgData name="Pfammatter, Florence" userId="52ee0349-382c-4ec9-879a-6cd059ae8008" providerId="ADAL" clId="{88926B28-3B9F-7845-BCEE-10B49B35E7D1}" dt="2023-05-18T15:26:26.800" v="453" actId="1076"/>
          <ac:grpSpMkLst>
            <pc:docMk/>
            <pc:sldMk cId="19961751" sldId="3203"/>
            <ac:grpSpMk id="19" creationId="{122E5371-5750-790A-B19B-1F35134CCCC3}"/>
          </ac:grpSpMkLst>
        </pc:grpChg>
        <pc:grpChg chg="add mod">
          <ac:chgData name="Pfammatter, Florence" userId="52ee0349-382c-4ec9-879a-6cd059ae8008" providerId="ADAL" clId="{88926B28-3B9F-7845-BCEE-10B49B35E7D1}" dt="2023-05-20T16:51:13.678" v="2095" actId="1076"/>
          <ac:grpSpMkLst>
            <pc:docMk/>
            <pc:sldMk cId="19961751" sldId="3203"/>
            <ac:grpSpMk id="22" creationId="{32430914-1FC8-24AE-6A6E-CEA662B61B29}"/>
          </ac:grpSpMkLst>
        </pc:grpChg>
        <pc:picChg chg="add del mod modCrop">
          <ac:chgData name="Pfammatter, Florence" userId="52ee0349-382c-4ec9-879a-6cd059ae8008" providerId="ADAL" clId="{88926B28-3B9F-7845-BCEE-10B49B35E7D1}" dt="2023-05-18T15:18:31.017" v="402" actId="478"/>
          <ac:picMkLst>
            <pc:docMk/>
            <pc:sldMk cId="19961751" sldId="3203"/>
            <ac:picMk id="3" creationId="{A401A912-3AE0-7AE0-05F3-7F8C645ABB38}"/>
          </ac:picMkLst>
        </pc:picChg>
        <pc:picChg chg="add del mod">
          <ac:chgData name="Pfammatter, Florence" userId="52ee0349-382c-4ec9-879a-6cd059ae8008" providerId="ADAL" clId="{88926B28-3B9F-7845-BCEE-10B49B35E7D1}" dt="2023-05-18T14:58:50.384" v="372" actId="478"/>
          <ac:picMkLst>
            <pc:docMk/>
            <pc:sldMk cId="19961751" sldId="3203"/>
            <ac:picMk id="9" creationId="{4310168E-5AA7-7A63-B504-B746B3B1CA6A}"/>
          </ac:picMkLst>
        </pc:picChg>
        <pc:picChg chg="add del mod">
          <ac:chgData name="Pfammatter, Florence" userId="52ee0349-382c-4ec9-879a-6cd059ae8008" providerId="ADAL" clId="{88926B28-3B9F-7845-BCEE-10B49B35E7D1}" dt="2023-05-18T14:59:38.739" v="381" actId="478"/>
          <ac:picMkLst>
            <pc:docMk/>
            <pc:sldMk cId="19961751" sldId="3203"/>
            <ac:picMk id="10" creationId="{B19453E4-7A78-5C85-5DB5-BC4797044848}"/>
          </ac:picMkLst>
        </pc:picChg>
        <pc:picChg chg="add mod modCrop">
          <ac:chgData name="Pfammatter, Florence" userId="52ee0349-382c-4ec9-879a-6cd059ae8008" providerId="ADAL" clId="{88926B28-3B9F-7845-BCEE-10B49B35E7D1}" dt="2023-05-18T15:21:41.543" v="436" actId="1076"/>
          <ac:picMkLst>
            <pc:docMk/>
            <pc:sldMk cId="19961751" sldId="3203"/>
            <ac:picMk id="18" creationId="{52332B16-9ADB-8E34-C21E-1C7E90D38E0E}"/>
          </ac:picMkLst>
        </pc:picChg>
        <pc:cxnChg chg="mod">
          <ac:chgData name="Pfammatter, Florence" userId="52ee0349-382c-4ec9-879a-6cd059ae8008" providerId="ADAL" clId="{88926B28-3B9F-7845-BCEE-10B49B35E7D1}" dt="2023-05-20T16:46:05.062" v="2020"/>
          <ac:cxnSpMkLst>
            <pc:docMk/>
            <pc:sldMk cId="19961751" sldId="3203"/>
            <ac:cxnSpMk id="10" creationId="{F24CB029-9BF9-3B7E-9883-26570734A77A}"/>
          </ac:cxnSpMkLst>
        </pc:cxnChg>
        <pc:cxnChg chg="mod">
          <ac:chgData name="Pfammatter, Florence" userId="52ee0349-382c-4ec9-879a-6cd059ae8008" providerId="ADAL" clId="{88926B28-3B9F-7845-BCEE-10B49B35E7D1}" dt="2023-05-20T16:46:05.062" v="2020"/>
          <ac:cxnSpMkLst>
            <pc:docMk/>
            <pc:sldMk cId="19961751" sldId="3203"/>
            <ac:cxnSpMk id="21" creationId="{4A481EDB-670E-5416-5744-976EBF20B042}"/>
          </ac:cxnSpMkLst>
        </pc:cxnChg>
        <pc:cxnChg chg="mod">
          <ac:chgData name="Pfammatter, Florence" userId="52ee0349-382c-4ec9-879a-6cd059ae8008" providerId="ADAL" clId="{88926B28-3B9F-7845-BCEE-10B49B35E7D1}" dt="2023-05-20T16:51:13.678" v="2095" actId="1076"/>
          <ac:cxnSpMkLst>
            <pc:docMk/>
            <pc:sldMk cId="19961751" sldId="3203"/>
            <ac:cxnSpMk id="24" creationId="{779ABC2D-1522-2325-FD8E-EFB39F6E2FB2}"/>
          </ac:cxnSpMkLst>
        </pc:cxnChg>
      </pc:sldChg>
      <pc:sldChg chg="addSp delSp modSp mod modAnim modNotesTx">
        <pc:chgData name="Pfammatter, Florence" userId="52ee0349-382c-4ec9-879a-6cd059ae8008" providerId="ADAL" clId="{88926B28-3B9F-7845-BCEE-10B49B35E7D1}" dt="2023-05-22T11:36:36.321" v="2497"/>
        <pc:sldMkLst>
          <pc:docMk/>
          <pc:sldMk cId="758632499" sldId="3204"/>
        </pc:sldMkLst>
        <pc:spChg chg="mod">
          <ac:chgData name="Pfammatter, Florence" userId="52ee0349-382c-4ec9-879a-6cd059ae8008" providerId="ADAL" clId="{88926B28-3B9F-7845-BCEE-10B49B35E7D1}" dt="2023-05-20T08:14:15.994" v="871" actId="1076"/>
          <ac:spMkLst>
            <pc:docMk/>
            <pc:sldMk cId="758632499" sldId="3204"/>
            <ac:spMk id="2" creationId="{85CDFD5C-4E36-46BD-BAC5-A7FD1B183CD4}"/>
          </ac:spMkLst>
        </pc:spChg>
        <pc:spChg chg="add del mod">
          <ac:chgData name="Pfammatter, Florence" userId="52ee0349-382c-4ec9-879a-6cd059ae8008" providerId="ADAL" clId="{88926B28-3B9F-7845-BCEE-10B49B35E7D1}" dt="2023-05-18T15:44:35.686" v="851" actId="478"/>
          <ac:spMkLst>
            <pc:docMk/>
            <pc:sldMk cId="758632499" sldId="3204"/>
            <ac:spMk id="3" creationId="{3A1D34F6-E4D9-4A35-F338-F5D066DE9005}"/>
          </ac:spMkLst>
        </pc:spChg>
        <pc:spChg chg="add mod">
          <ac:chgData name="Pfammatter, Florence" userId="52ee0349-382c-4ec9-879a-6cd059ae8008" providerId="ADAL" clId="{88926B28-3B9F-7845-BCEE-10B49B35E7D1}" dt="2023-05-20T08:12:23.636" v="866" actId="767"/>
          <ac:spMkLst>
            <pc:docMk/>
            <pc:sldMk cId="758632499" sldId="3204"/>
            <ac:spMk id="3" creationId="{D097E395-ECB1-F090-0C57-8032D0F5F761}"/>
          </ac:spMkLst>
        </pc:spChg>
        <pc:spChg chg="add mod">
          <ac:chgData name="Pfammatter, Florence" userId="52ee0349-382c-4ec9-879a-6cd059ae8008" providerId="ADAL" clId="{88926B28-3B9F-7845-BCEE-10B49B35E7D1}" dt="2023-05-20T11:04:23.670" v="1687" actId="1035"/>
          <ac:spMkLst>
            <pc:docMk/>
            <pc:sldMk cId="758632499" sldId="3204"/>
            <ac:spMk id="7" creationId="{406A5EF7-B268-AA60-1886-7F1AE121629C}"/>
          </ac:spMkLst>
        </pc:spChg>
        <pc:spChg chg="add del mod">
          <ac:chgData name="Pfammatter, Florence" userId="52ee0349-382c-4ec9-879a-6cd059ae8008" providerId="ADAL" clId="{88926B28-3B9F-7845-BCEE-10B49B35E7D1}" dt="2023-05-18T15:43:34.450" v="835" actId="478"/>
          <ac:spMkLst>
            <pc:docMk/>
            <pc:sldMk cId="758632499" sldId="3204"/>
            <ac:spMk id="7" creationId="{BAB23544-39BB-582A-267B-70EA07AD9C1F}"/>
          </ac:spMkLst>
        </pc:spChg>
        <pc:spChg chg="add mod">
          <ac:chgData name="Pfammatter, Florence" userId="52ee0349-382c-4ec9-879a-6cd059ae8008" providerId="ADAL" clId="{88926B28-3B9F-7845-BCEE-10B49B35E7D1}" dt="2023-05-20T16:38:35.825" v="1926" actId="1036"/>
          <ac:spMkLst>
            <pc:docMk/>
            <pc:sldMk cId="758632499" sldId="3204"/>
            <ac:spMk id="8" creationId="{75B13616-4524-396F-A90F-A6B066A5F0E8}"/>
          </ac:spMkLst>
        </pc:spChg>
        <pc:spChg chg="add del mod">
          <ac:chgData name="Pfammatter, Florence" userId="52ee0349-382c-4ec9-879a-6cd059ae8008" providerId="ADAL" clId="{88926B28-3B9F-7845-BCEE-10B49B35E7D1}" dt="2023-05-18T15:45:01.868" v="859" actId="478"/>
          <ac:spMkLst>
            <pc:docMk/>
            <pc:sldMk cId="758632499" sldId="3204"/>
            <ac:spMk id="8" creationId="{EE896615-23EE-CC48-6D73-331D442EE7C8}"/>
          </ac:spMkLst>
        </pc:spChg>
        <pc:spChg chg="add mod">
          <ac:chgData name="Pfammatter, Florence" userId="52ee0349-382c-4ec9-879a-6cd059ae8008" providerId="ADAL" clId="{88926B28-3B9F-7845-BCEE-10B49B35E7D1}" dt="2023-05-20T08:32:30.018" v="1073" actId="20577"/>
          <ac:spMkLst>
            <pc:docMk/>
            <pc:sldMk cId="758632499" sldId="3204"/>
            <ac:spMk id="9" creationId="{B000F776-07B2-9E03-3FDA-4F4583D2E1DA}"/>
          </ac:spMkLst>
        </pc:spChg>
        <pc:spChg chg="add del mod">
          <ac:chgData name="Pfammatter, Florence" userId="52ee0349-382c-4ec9-879a-6cd059ae8008" providerId="ADAL" clId="{88926B28-3B9F-7845-BCEE-10B49B35E7D1}" dt="2023-05-18T15:44:51.278" v="854" actId="478"/>
          <ac:spMkLst>
            <pc:docMk/>
            <pc:sldMk cId="758632499" sldId="3204"/>
            <ac:spMk id="9" creationId="{F968121D-E01B-EDA1-5D79-8A5028E83351}"/>
          </ac:spMkLst>
        </pc:spChg>
        <pc:spChg chg="add mod">
          <ac:chgData name="Pfammatter, Florence" userId="52ee0349-382c-4ec9-879a-6cd059ae8008" providerId="ADAL" clId="{88926B28-3B9F-7845-BCEE-10B49B35E7D1}" dt="2023-05-20T16:51:23.539" v="2097" actId="1036"/>
          <ac:spMkLst>
            <pc:docMk/>
            <pc:sldMk cId="758632499" sldId="3204"/>
            <ac:spMk id="10" creationId="{53148534-BDF2-D8AE-7C96-D1A7C2ACE927}"/>
          </ac:spMkLst>
        </pc:spChg>
        <pc:spChg chg="add del mod">
          <ac:chgData name="Pfammatter, Florence" userId="52ee0349-382c-4ec9-879a-6cd059ae8008" providerId="ADAL" clId="{88926B28-3B9F-7845-BCEE-10B49B35E7D1}" dt="2023-05-18T15:44:53.367" v="855" actId="478"/>
          <ac:spMkLst>
            <pc:docMk/>
            <pc:sldMk cId="758632499" sldId="3204"/>
            <ac:spMk id="10" creationId="{961868D6-FE08-E4D9-42BA-87E7C562AB83}"/>
          </ac:spMkLst>
        </pc:spChg>
        <pc:spChg chg="add mod">
          <ac:chgData name="Pfammatter, Florence" userId="52ee0349-382c-4ec9-879a-6cd059ae8008" providerId="ADAL" clId="{88926B28-3B9F-7845-BCEE-10B49B35E7D1}" dt="2023-05-22T08:44:51.585" v="2415" actId="14100"/>
          <ac:spMkLst>
            <pc:docMk/>
            <pc:sldMk cId="758632499" sldId="3204"/>
            <ac:spMk id="11" creationId="{2498C829-7E75-6FD5-7866-027DBF2561A1}"/>
          </ac:spMkLst>
        </pc:spChg>
        <pc:spChg chg="add del mod">
          <ac:chgData name="Pfammatter, Florence" userId="52ee0349-382c-4ec9-879a-6cd059ae8008" providerId="ADAL" clId="{88926B28-3B9F-7845-BCEE-10B49B35E7D1}" dt="2023-05-18T15:44:55.442" v="856" actId="478"/>
          <ac:spMkLst>
            <pc:docMk/>
            <pc:sldMk cId="758632499" sldId="3204"/>
            <ac:spMk id="11" creationId="{CE4A84CE-EF60-C1EC-7BF2-7DD82B33AF57}"/>
          </ac:spMkLst>
        </pc:spChg>
        <pc:spChg chg="add mod">
          <ac:chgData name="Pfammatter, Florence" userId="52ee0349-382c-4ec9-879a-6cd059ae8008" providerId="ADAL" clId="{88926B28-3B9F-7845-BCEE-10B49B35E7D1}" dt="2023-05-20T10:52:43.455" v="1443" actId="767"/>
          <ac:spMkLst>
            <pc:docMk/>
            <pc:sldMk cId="758632499" sldId="3204"/>
            <ac:spMk id="12" creationId="{180329CC-093F-8D7D-4AE1-6C3A11665543}"/>
          </ac:spMkLst>
        </pc:spChg>
        <pc:spChg chg="add del mod">
          <ac:chgData name="Pfammatter, Florence" userId="52ee0349-382c-4ec9-879a-6cd059ae8008" providerId="ADAL" clId="{88926B28-3B9F-7845-BCEE-10B49B35E7D1}" dt="2023-05-18T15:44:57.909" v="857" actId="478"/>
          <ac:spMkLst>
            <pc:docMk/>
            <pc:sldMk cId="758632499" sldId="3204"/>
            <ac:spMk id="12" creationId="{CCE69892-26DF-8F45-2B54-BB841FDEC965}"/>
          </ac:spMkLst>
        </pc:spChg>
        <pc:spChg chg="add del mod">
          <ac:chgData name="Pfammatter, Florence" userId="52ee0349-382c-4ec9-879a-6cd059ae8008" providerId="ADAL" clId="{88926B28-3B9F-7845-BCEE-10B49B35E7D1}" dt="2023-05-18T15:44:59.744" v="858" actId="478"/>
          <ac:spMkLst>
            <pc:docMk/>
            <pc:sldMk cId="758632499" sldId="3204"/>
            <ac:spMk id="13" creationId="{29B0B868-EA76-F8AF-2616-1E204ACBFB2B}"/>
          </ac:spMkLst>
        </pc:spChg>
        <pc:spChg chg="add del mod">
          <ac:chgData name="Pfammatter, Florence" userId="52ee0349-382c-4ec9-879a-6cd059ae8008" providerId="ADAL" clId="{88926B28-3B9F-7845-BCEE-10B49B35E7D1}" dt="2023-05-22T08:43:19.962" v="2367" actId="478"/>
          <ac:spMkLst>
            <pc:docMk/>
            <pc:sldMk cId="758632499" sldId="3204"/>
            <ac:spMk id="13" creationId="{8EC6DFC3-B939-8345-33B3-34A0C7C275D6}"/>
          </ac:spMkLst>
        </pc:spChg>
        <pc:spChg chg="add del mod">
          <ac:chgData name="Pfammatter, Florence" userId="52ee0349-382c-4ec9-879a-6cd059ae8008" providerId="ADAL" clId="{88926B28-3B9F-7845-BCEE-10B49B35E7D1}" dt="2023-05-18T15:26:45.995" v="456" actId="478"/>
          <ac:spMkLst>
            <pc:docMk/>
            <pc:sldMk cId="758632499" sldId="3204"/>
            <ac:spMk id="14" creationId="{DB2A07A4-3E77-2491-A785-288EFC799D2A}"/>
          </ac:spMkLst>
        </pc:spChg>
        <pc:spChg chg="add mod">
          <ac:chgData name="Pfammatter, Florence" userId="52ee0349-382c-4ec9-879a-6cd059ae8008" providerId="ADAL" clId="{88926B28-3B9F-7845-BCEE-10B49B35E7D1}" dt="2023-05-22T08:45:22.784" v="2433" actId="1035"/>
          <ac:spMkLst>
            <pc:docMk/>
            <pc:sldMk cId="758632499" sldId="3204"/>
            <ac:spMk id="15" creationId="{09EE1DC4-F396-4DAE-78A6-D61CE194B25B}"/>
          </ac:spMkLst>
        </pc:spChg>
        <pc:spChg chg="add mod">
          <ac:chgData name="Pfammatter, Florence" userId="52ee0349-382c-4ec9-879a-6cd059ae8008" providerId="ADAL" clId="{88926B28-3B9F-7845-BCEE-10B49B35E7D1}" dt="2023-05-20T16:43:26.855" v="1955"/>
          <ac:spMkLst>
            <pc:docMk/>
            <pc:sldMk cId="758632499" sldId="3204"/>
            <ac:spMk id="16" creationId="{D877AF46-0D82-61D3-A7A6-E52FCE0D9C73}"/>
          </ac:spMkLst>
        </pc:spChg>
        <pc:spChg chg="mod">
          <ac:chgData name="Pfammatter, Florence" userId="52ee0349-382c-4ec9-879a-6cd059ae8008" providerId="ADAL" clId="{88926B28-3B9F-7845-BCEE-10B49B35E7D1}" dt="2023-05-20T11:05:21.927" v="1724" actId="1036"/>
          <ac:spMkLst>
            <pc:docMk/>
            <pc:sldMk cId="758632499" sldId="3204"/>
            <ac:spMk id="18" creationId="{FD6D3686-22D2-8D95-3A73-69791314CC5B}"/>
          </ac:spMkLst>
        </pc:spChg>
        <pc:spChg chg="mod">
          <ac:chgData name="Pfammatter, Florence" userId="52ee0349-382c-4ec9-879a-6cd059ae8008" providerId="ADAL" clId="{88926B28-3B9F-7845-BCEE-10B49B35E7D1}" dt="2023-05-20T16:38:35.825" v="1926" actId="1036"/>
          <ac:spMkLst>
            <pc:docMk/>
            <pc:sldMk cId="758632499" sldId="3204"/>
            <ac:spMk id="21" creationId="{65303378-A48D-815B-6FB7-8865A0AEB456}"/>
          </ac:spMkLst>
        </pc:spChg>
        <pc:spChg chg="add mod">
          <ac:chgData name="Pfammatter, Florence" userId="52ee0349-382c-4ec9-879a-6cd059ae8008" providerId="ADAL" clId="{88926B28-3B9F-7845-BCEE-10B49B35E7D1}" dt="2023-05-22T08:47:31.003" v="2484" actId="1076"/>
          <ac:spMkLst>
            <pc:docMk/>
            <pc:sldMk cId="758632499" sldId="3204"/>
            <ac:spMk id="23" creationId="{B734F750-1D79-7C90-0AEA-CDFACAE54F54}"/>
          </ac:spMkLst>
        </pc:spChg>
        <pc:spChg chg="mod">
          <ac:chgData name="Pfammatter, Florence" userId="52ee0349-382c-4ec9-879a-6cd059ae8008" providerId="ADAL" clId="{88926B28-3B9F-7845-BCEE-10B49B35E7D1}" dt="2023-05-20T16:36:37.705" v="1891" actId="1076"/>
          <ac:spMkLst>
            <pc:docMk/>
            <pc:sldMk cId="758632499" sldId="3204"/>
            <ac:spMk id="24" creationId="{CF8E2E41-096B-5DF6-2173-7A5BA43C46EF}"/>
          </ac:spMkLst>
        </pc:spChg>
        <pc:spChg chg="mod">
          <ac:chgData name="Pfammatter, Florence" userId="52ee0349-382c-4ec9-879a-6cd059ae8008" providerId="ADAL" clId="{88926B28-3B9F-7845-BCEE-10B49B35E7D1}" dt="2023-05-20T16:51:23.539" v="2097" actId="1036"/>
          <ac:spMkLst>
            <pc:docMk/>
            <pc:sldMk cId="758632499" sldId="3204"/>
            <ac:spMk id="27" creationId="{6FADE043-AE33-C921-1F82-D6A34BC7F60E}"/>
          </ac:spMkLst>
        </pc:spChg>
        <pc:spChg chg="add mod">
          <ac:chgData name="Pfammatter, Florence" userId="52ee0349-382c-4ec9-879a-6cd059ae8008" providerId="ADAL" clId="{88926B28-3B9F-7845-BCEE-10B49B35E7D1}" dt="2023-05-20T16:38:14.789" v="1917" actId="14100"/>
          <ac:spMkLst>
            <pc:docMk/>
            <pc:sldMk cId="758632499" sldId="3204"/>
            <ac:spMk id="29" creationId="{ED57ECE3-DA75-74E0-2B08-CEAD9AEDAB30}"/>
          </ac:spMkLst>
        </pc:spChg>
        <pc:spChg chg="add mod">
          <ac:chgData name="Pfammatter, Florence" userId="52ee0349-382c-4ec9-879a-6cd059ae8008" providerId="ADAL" clId="{88926B28-3B9F-7845-BCEE-10B49B35E7D1}" dt="2023-05-22T08:45:22.784" v="2433" actId="1035"/>
          <ac:spMkLst>
            <pc:docMk/>
            <pc:sldMk cId="758632499" sldId="3204"/>
            <ac:spMk id="30" creationId="{BF219C91-4630-FB4C-9599-57442A91B3DE}"/>
          </ac:spMkLst>
        </pc:spChg>
        <pc:spChg chg="add mod">
          <ac:chgData name="Pfammatter, Florence" userId="52ee0349-382c-4ec9-879a-6cd059ae8008" providerId="ADAL" clId="{88926B28-3B9F-7845-BCEE-10B49B35E7D1}" dt="2023-05-20T16:45:17.692" v="2008" actId="1076"/>
          <ac:spMkLst>
            <pc:docMk/>
            <pc:sldMk cId="758632499" sldId="3204"/>
            <ac:spMk id="32" creationId="{5A3560D7-8EC8-0BAA-D50E-E6476A053F3D}"/>
          </ac:spMkLst>
        </pc:spChg>
        <pc:grpChg chg="add mod">
          <ac:chgData name="Pfammatter, Florence" userId="52ee0349-382c-4ec9-879a-6cd059ae8008" providerId="ADAL" clId="{88926B28-3B9F-7845-BCEE-10B49B35E7D1}" dt="2023-05-20T11:05:21.927" v="1724" actId="1036"/>
          <ac:grpSpMkLst>
            <pc:docMk/>
            <pc:sldMk cId="758632499" sldId="3204"/>
            <ac:grpSpMk id="17" creationId="{25B4BABA-7D74-73D9-750D-1221850D4A3C}"/>
          </ac:grpSpMkLst>
        </pc:grpChg>
        <pc:grpChg chg="add mod">
          <ac:chgData name="Pfammatter, Florence" userId="52ee0349-382c-4ec9-879a-6cd059ae8008" providerId="ADAL" clId="{88926B28-3B9F-7845-BCEE-10B49B35E7D1}" dt="2023-05-20T16:38:35.825" v="1926" actId="1036"/>
          <ac:grpSpMkLst>
            <pc:docMk/>
            <pc:sldMk cId="758632499" sldId="3204"/>
            <ac:grpSpMk id="20" creationId="{51019F71-AEC4-3926-891D-6D66A928E5FF}"/>
          </ac:grpSpMkLst>
        </pc:grpChg>
        <pc:grpChg chg="add del mod">
          <ac:chgData name="Pfammatter, Florence" userId="52ee0349-382c-4ec9-879a-6cd059ae8008" providerId="ADAL" clId="{88926B28-3B9F-7845-BCEE-10B49B35E7D1}" dt="2023-05-20T16:37:18.896" v="1902" actId="478"/>
          <ac:grpSpMkLst>
            <pc:docMk/>
            <pc:sldMk cId="758632499" sldId="3204"/>
            <ac:grpSpMk id="23" creationId="{9F092D60-6D22-28C5-0CD9-4E16E9E9462A}"/>
          </ac:grpSpMkLst>
        </pc:grpChg>
        <pc:grpChg chg="add mod">
          <ac:chgData name="Pfammatter, Florence" userId="52ee0349-382c-4ec9-879a-6cd059ae8008" providerId="ADAL" clId="{88926B28-3B9F-7845-BCEE-10B49B35E7D1}" dt="2023-05-20T16:51:23.539" v="2097" actId="1036"/>
          <ac:grpSpMkLst>
            <pc:docMk/>
            <pc:sldMk cId="758632499" sldId="3204"/>
            <ac:grpSpMk id="26" creationId="{D6BAB7DA-7E42-8CC3-23B1-513A1D4518A8}"/>
          </ac:grpSpMkLst>
        </pc:grpChg>
        <pc:picChg chg="add mod modCrop">
          <ac:chgData name="Pfammatter, Florence" userId="52ee0349-382c-4ec9-879a-6cd059ae8008" providerId="ADAL" clId="{88926B28-3B9F-7845-BCEE-10B49B35E7D1}" dt="2023-05-20T16:37:52.355" v="1906" actId="1076"/>
          <ac:picMkLst>
            <pc:docMk/>
            <pc:sldMk cId="758632499" sldId="3204"/>
            <ac:picMk id="14" creationId="{B5A59844-871B-DBE3-2F9C-B655C599FE36}"/>
          </ac:picMkLst>
        </pc:picChg>
        <pc:picChg chg="add del mod">
          <ac:chgData name="Pfammatter, Florence" userId="52ee0349-382c-4ec9-879a-6cd059ae8008" providerId="ADAL" clId="{88926B28-3B9F-7845-BCEE-10B49B35E7D1}" dt="2023-05-18T14:56:00.985" v="176" actId="21"/>
          <ac:picMkLst>
            <pc:docMk/>
            <pc:sldMk cId="758632499" sldId="3204"/>
            <ac:picMk id="16" creationId="{BDC0B580-DAC6-C414-288A-AA7914A0EA98}"/>
          </ac:picMkLst>
        </pc:picChg>
        <pc:cxnChg chg="mod">
          <ac:chgData name="Pfammatter, Florence" userId="52ee0349-382c-4ec9-879a-6cd059ae8008" providerId="ADAL" clId="{88926B28-3B9F-7845-BCEE-10B49B35E7D1}" dt="2023-05-20T11:05:21.927" v="1724" actId="1036"/>
          <ac:cxnSpMkLst>
            <pc:docMk/>
            <pc:sldMk cId="758632499" sldId="3204"/>
            <ac:cxnSpMk id="19" creationId="{145C6B29-974C-DFDD-2907-F1935C241B98}"/>
          </ac:cxnSpMkLst>
        </pc:cxnChg>
        <pc:cxnChg chg="mod">
          <ac:chgData name="Pfammatter, Florence" userId="52ee0349-382c-4ec9-879a-6cd059ae8008" providerId="ADAL" clId="{88926B28-3B9F-7845-BCEE-10B49B35E7D1}" dt="2023-05-20T16:38:35.825" v="1926" actId="1036"/>
          <ac:cxnSpMkLst>
            <pc:docMk/>
            <pc:sldMk cId="758632499" sldId="3204"/>
            <ac:cxnSpMk id="22" creationId="{95628F54-FFB1-0072-76F2-FA2FD797A47E}"/>
          </ac:cxnSpMkLst>
        </pc:cxnChg>
        <pc:cxnChg chg="mod">
          <ac:chgData name="Pfammatter, Florence" userId="52ee0349-382c-4ec9-879a-6cd059ae8008" providerId="ADAL" clId="{88926B28-3B9F-7845-BCEE-10B49B35E7D1}" dt="2023-05-20T16:36:37.705" v="1891" actId="1076"/>
          <ac:cxnSpMkLst>
            <pc:docMk/>
            <pc:sldMk cId="758632499" sldId="3204"/>
            <ac:cxnSpMk id="25" creationId="{AC071D92-44B4-2B1B-62B5-741A0119684C}"/>
          </ac:cxnSpMkLst>
        </pc:cxnChg>
        <pc:cxnChg chg="mod">
          <ac:chgData name="Pfammatter, Florence" userId="52ee0349-382c-4ec9-879a-6cd059ae8008" providerId="ADAL" clId="{88926B28-3B9F-7845-BCEE-10B49B35E7D1}" dt="2023-05-20T16:51:23.539" v="2097" actId="1036"/>
          <ac:cxnSpMkLst>
            <pc:docMk/>
            <pc:sldMk cId="758632499" sldId="3204"/>
            <ac:cxnSpMk id="28" creationId="{695C8FD0-6337-A76D-63ED-E251297FD135}"/>
          </ac:cxnSpMkLst>
        </pc:cxnChg>
      </pc:sldChg>
      <pc:sldChg chg="modSp modNotesTx">
        <pc:chgData name="Pfammatter, Florence" userId="52ee0349-382c-4ec9-879a-6cd059ae8008" providerId="ADAL" clId="{88926B28-3B9F-7845-BCEE-10B49B35E7D1}" dt="2023-05-22T11:37:26.133" v="2502" actId="20577"/>
        <pc:sldMkLst>
          <pc:docMk/>
          <pc:sldMk cId="641653763" sldId="3205"/>
        </pc:sldMkLst>
        <pc:spChg chg="mod">
          <ac:chgData name="Pfammatter, Florence" userId="52ee0349-382c-4ec9-879a-6cd059ae8008" providerId="ADAL" clId="{88926B28-3B9F-7845-BCEE-10B49B35E7D1}" dt="2023-05-21T09:59:58.858" v="2360"/>
          <ac:spMkLst>
            <pc:docMk/>
            <pc:sldMk cId="641653763" sldId="3205"/>
            <ac:spMk id="2" creationId="{F8470236-B875-4453-8469-1E0FE2832721}"/>
          </ac:spMkLst>
        </pc:spChg>
        <pc:spChg chg="mod">
          <ac:chgData name="Pfammatter, Florence" userId="52ee0349-382c-4ec9-879a-6cd059ae8008" providerId="ADAL" clId="{88926B28-3B9F-7845-BCEE-10B49B35E7D1}" dt="2023-05-21T09:59:58.858" v="2360"/>
          <ac:spMkLst>
            <pc:docMk/>
            <pc:sldMk cId="641653763" sldId="3205"/>
            <ac:spMk id="4" creationId="{D85BBE46-F288-4314-8F46-BFB99BFC02F4}"/>
          </ac:spMkLst>
        </pc:spChg>
        <pc:spChg chg="mod">
          <ac:chgData name="Pfammatter, Florence" userId="52ee0349-382c-4ec9-879a-6cd059ae8008" providerId="ADAL" clId="{88926B28-3B9F-7845-BCEE-10B49B35E7D1}" dt="2023-05-21T09:59:58.858" v="2360"/>
          <ac:spMkLst>
            <pc:docMk/>
            <pc:sldMk cId="641653763" sldId="3205"/>
            <ac:spMk id="5" creationId="{D198EF02-B9A4-4BDB-AA99-1359935AD35A}"/>
          </ac:spMkLst>
        </pc:spChg>
        <pc:spChg chg="mod">
          <ac:chgData name="Pfammatter, Florence" userId="52ee0349-382c-4ec9-879a-6cd059ae8008" providerId="ADAL" clId="{88926B28-3B9F-7845-BCEE-10B49B35E7D1}" dt="2023-05-21T09:59:58.858" v="2360"/>
          <ac:spMkLst>
            <pc:docMk/>
            <pc:sldMk cId="641653763" sldId="3205"/>
            <ac:spMk id="8" creationId="{B572BE85-79FB-487C-89F0-218DD1272BA5}"/>
          </ac:spMkLst>
        </pc:spChg>
        <pc:spChg chg="mod">
          <ac:chgData name="Pfammatter, Florence" userId="52ee0349-382c-4ec9-879a-6cd059ae8008" providerId="ADAL" clId="{88926B28-3B9F-7845-BCEE-10B49B35E7D1}" dt="2023-05-21T09:59:58.858" v="2360"/>
          <ac:spMkLst>
            <pc:docMk/>
            <pc:sldMk cId="641653763" sldId="3205"/>
            <ac:spMk id="9" creationId="{D04CBF3A-496E-49F7-9234-1F6EDC84FB60}"/>
          </ac:spMkLst>
        </pc:spChg>
        <pc:spChg chg="mod">
          <ac:chgData name="Pfammatter, Florence" userId="52ee0349-382c-4ec9-879a-6cd059ae8008" providerId="ADAL" clId="{88926B28-3B9F-7845-BCEE-10B49B35E7D1}" dt="2023-05-21T09:59:58.858" v="2360"/>
          <ac:spMkLst>
            <pc:docMk/>
            <pc:sldMk cId="641653763" sldId="3205"/>
            <ac:spMk id="10" creationId="{C510BE83-6BEC-40BF-A83E-A7C105B88C71}"/>
          </ac:spMkLst>
        </pc:spChg>
        <pc:spChg chg="mod">
          <ac:chgData name="Pfammatter, Florence" userId="52ee0349-382c-4ec9-879a-6cd059ae8008" providerId="ADAL" clId="{88926B28-3B9F-7845-BCEE-10B49B35E7D1}" dt="2023-05-21T09:59:58.858" v="2360"/>
          <ac:spMkLst>
            <pc:docMk/>
            <pc:sldMk cId="641653763" sldId="3205"/>
            <ac:spMk id="11" creationId="{01729631-A951-4CF7-A99B-50EEED8F61B6}"/>
          </ac:spMkLst>
        </pc:spChg>
        <pc:spChg chg="mod">
          <ac:chgData name="Pfammatter, Florence" userId="52ee0349-382c-4ec9-879a-6cd059ae8008" providerId="ADAL" clId="{88926B28-3B9F-7845-BCEE-10B49B35E7D1}" dt="2023-05-21T09:59:58.858" v="2360"/>
          <ac:spMkLst>
            <pc:docMk/>
            <pc:sldMk cId="641653763" sldId="3205"/>
            <ac:spMk id="12" creationId="{7E81E8CD-184D-4A0C-8475-EA5357E643AD}"/>
          </ac:spMkLst>
        </pc:spChg>
        <pc:spChg chg="mod">
          <ac:chgData name="Pfammatter, Florence" userId="52ee0349-382c-4ec9-879a-6cd059ae8008" providerId="ADAL" clId="{88926B28-3B9F-7845-BCEE-10B49B35E7D1}" dt="2023-05-21T09:59:58.858" v="2360"/>
          <ac:spMkLst>
            <pc:docMk/>
            <pc:sldMk cId="641653763" sldId="3205"/>
            <ac:spMk id="13" creationId="{FC549DC3-0E68-4BBF-B485-95BFC93ADD85}"/>
          </ac:spMkLst>
        </pc:spChg>
        <pc:spChg chg="mod">
          <ac:chgData name="Pfammatter, Florence" userId="52ee0349-382c-4ec9-879a-6cd059ae8008" providerId="ADAL" clId="{88926B28-3B9F-7845-BCEE-10B49B35E7D1}" dt="2023-05-21T09:59:58.858" v="2360"/>
          <ac:spMkLst>
            <pc:docMk/>
            <pc:sldMk cId="641653763" sldId="3205"/>
            <ac:spMk id="14" creationId="{FE69B946-8F3E-4CD1-9B6E-B015C009D43C}"/>
          </ac:spMkLst>
        </pc:spChg>
        <pc:spChg chg="mod">
          <ac:chgData name="Pfammatter, Florence" userId="52ee0349-382c-4ec9-879a-6cd059ae8008" providerId="ADAL" clId="{88926B28-3B9F-7845-BCEE-10B49B35E7D1}" dt="2023-05-21T09:59:58.858" v="2360"/>
          <ac:spMkLst>
            <pc:docMk/>
            <pc:sldMk cId="641653763" sldId="3205"/>
            <ac:spMk id="15" creationId="{954E8EA2-374A-4A46-8DD1-974F701D2E0E}"/>
          </ac:spMkLst>
        </pc:spChg>
        <pc:spChg chg="mod">
          <ac:chgData name="Pfammatter, Florence" userId="52ee0349-382c-4ec9-879a-6cd059ae8008" providerId="ADAL" clId="{88926B28-3B9F-7845-BCEE-10B49B35E7D1}" dt="2023-05-21T09:59:58.858" v="2360"/>
          <ac:spMkLst>
            <pc:docMk/>
            <pc:sldMk cId="641653763" sldId="3205"/>
            <ac:spMk id="16" creationId="{6C4A349D-326D-4B6D-9D85-BAE5027507A1}"/>
          </ac:spMkLst>
        </pc:spChg>
        <pc:spChg chg="mod">
          <ac:chgData name="Pfammatter, Florence" userId="52ee0349-382c-4ec9-879a-6cd059ae8008" providerId="ADAL" clId="{88926B28-3B9F-7845-BCEE-10B49B35E7D1}" dt="2023-05-21T09:59:58.858" v="2360"/>
          <ac:spMkLst>
            <pc:docMk/>
            <pc:sldMk cId="641653763" sldId="3205"/>
            <ac:spMk id="17" creationId="{75488B01-BB8B-4A17-BE67-033413E31BFA}"/>
          </ac:spMkLst>
        </pc:spChg>
        <pc:spChg chg="mod">
          <ac:chgData name="Pfammatter, Florence" userId="52ee0349-382c-4ec9-879a-6cd059ae8008" providerId="ADAL" clId="{88926B28-3B9F-7845-BCEE-10B49B35E7D1}" dt="2023-05-21T09:59:58.858" v="2360"/>
          <ac:spMkLst>
            <pc:docMk/>
            <pc:sldMk cId="641653763" sldId="3205"/>
            <ac:spMk id="18" creationId="{046B607F-C9C8-470A-A17B-31C4A09E7A7E}"/>
          </ac:spMkLst>
        </pc:spChg>
        <pc:spChg chg="mod">
          <ac:chgData name="Pfammatter, Florence" userId="52ee0349-382c-4ec9-879a-6cd059ae8008" providerId="ADAL" clId="{88926B28-3B9F-7845-BCEE-10B49B35E7D1}" dt="2023-05-21T09:59:58.858" v="2360"/>
          <ac:spMkLst>
            <pc:docMk/>
            <pc:sldMk cId="641653763" sldId="3205"/>
            <ac:spMk id="19" creationId="{2365B9CE-C52A-4A70-B031-8BC883446E35}"/>
          </ac:spMkLst>
        </pc:spChg>
        <pc:spChg chg="mod">
          <ac:chgData name="Pfammatter, Florence" userId="52ee0349-382c-4ec9-879a-6cd059ae8008" providerId="ADAL" clId="{88926B28-3B9F-7845-BCEE-10B49B35E7D1}" dt="2023-05-21T09:59:58.858" v="2360"/>
          <ac:spMkLst>
            <pc:docMk/>
            <pc:sldMk cId="641653763" sldId="3205"/>
            <ac:spMk id="20" creationId="{B4304155-3969-42ED-B776-A10C5125C953}"/>
          </ac:spMkLst>
        </pc:spChg>
        <pc:spChg chg="mod">
          <ac:chgData name="Pfammatter, Florence" userId="52ee0349-382c-4ec9-879a-6cd059ae8008" providerId="ADAL" clId="{88926B28-3B9F-7845-BCEE-10B49B35E7D1}" dt="2023-05-21T09:59:58.858" v="2360"/>
          <ac:spMkLst>
            <pc:docMk/>
            <pc:sldMk cId="641653763" sldId="3205"/>
            <ac:spMk id="21" creationId="{154A4CFE-DDD9-40C1-839A-0255C461E215}"/>
          </ac:spMkLst>
        </pc:spChg>
        <pc:spChg chg="mod">
          <ac:chgData name="Pfammatter, Florence" userId="52ee0349-382c-4ec9-879a-6cd059ae8008" providerId="ADAL" clId="{88926B28-3B9F-7845-BCEE-10B49B35E7D1}" dt="2023-05-21T09:59:58.858" v="2360"/>
          <ac:spMkLst>
            <pc:docMk/>
            <pc:sldMk cId="641653763" sldId="3205"/>
            <ac:spMk id="22" creationId="{C8CB5717-3662-4B39-8026-07394771550D}"/>
          </ac:spMkLst>
        </pc:spChg>
        <pc:spChg chg="mod">
          <ac:chgData name="Pfammatter, Florence" userId="52ee0349-382c-4ec9-879a-6cd059ae8008" providerId="ADAL" clId="{88926B28-3B9F-7845-BCEE-10B49B35E7D1}" dt="2023-05-21T09:59:58.858" v="2360"/>
          <ac:spMkLst>
            <pc:docMk/>
            <pc:sldMk cId="641653763" sldId="3205"/>
            <ac:spMk id="31" creationId="{EBADFA29-A9F9-464D-BC5A-D5C39FD6F61A}"/>
          </ac:spMkLst>
        </pc:spChg>
        <pc:grpChg chg="mod">
          <ac:chgData name="Pfammatter, Florence" userId="52ee0349-382c-4ec9-879a-6cd059ae8008" providerId="ADAL" clId="{88926B28-3B9F-7845-BCEE-10B49B35E7D1}" dt="2023-05-21T09:59:58.858" v="2360"/>
          <ac:grpSpMkLst>
            <pc:docMk/>
            <pc:sldMk cId="641653763" sldId="3205"/>
            <ac:grpSpMk id="1" creationId="{00000000-0000-0000-0000-000000000000}"/>
          </ac:grpSpMkLst>
        </pc:grpChg>
        <pc:graphicFrameChg chg="mod">
          <ac:chgData name="Pfammatter, Florence" userId="52ee0349-382c-4ec9-879a-6cd059ae8008" providerId="ADAL" clId="{88926B28-3B9F-7845-BCEE-10B49B35E7D1}" dt="2023-05-21T09:59:58.858" v="2360"/>
          <ac:graphicFrameMkLst>
            <pc:docMk/>
            <pc:sldMk cId="641653763" sldId="3205"/>
            <ac:graphicFrameMk id="6" creationId="{996EA67C-C529-4A75-9010-031ADB77E986}"/>
          </ac:graphicFrameMkLst>
        </pc:graphicFrameChg>
        <pc:picChg chg="mod">
          <ac:chgData name="Pfammatter, Florence" userId="52ee0349-382c-4ec9-879a-6cd059ae8008" providerId="ADAL" clId="{88926B28-3B9F-7845-BCEE-10B49B35E7D1}" dt="2023-05-21T09:59:58.858" v="2360"/>
          <ac:picMkLst>
            <pc:docMk/>
            <pc:sldMk cId="641653763" sldId="3205"/>
            <ac:picMk id="35" creationId="{86278CE0-05C7-4D95-BD9E-A28227B910C2}"/>
          </ac:picMkLst>
        </pc:picChg>
        <pc:picChg chg="mod">
          <ac:chgData name="Pfammatter, Florence" userId="52ee0349-382c-4ec9-879a-6cd059ae8008" providerId="ADAL" clId="{88926B28-3B9F-7845-BCEE-10B49B35E7D1}" dt="2023-05-21T09:59:58.858" v="2360"/>
          <ac:picMkLst>
            <pc:docMk/>
            <pc:sldMk cId="641653763" sldId="3205"/>
            <ac:picMk id="37" creationId="{36A3BDED-6A56-4FC7-9DD5-A95FB85049A8}"/>
          </ac:picMkLst>
        </pc:picChg>
        <pc:picChg chg="mod">
          <ac:chgData name="Pfammatter, Florence" userId="52ee0349-382c-4ec9-879a-6cd059ae8008" providerId="ADAL" clId="{88926B28-3B9F-7845-BCEE-10B49B35E7D1}" dt="2023-05-21T09:59:58.858" v="2360"/>
          <ac:picMkLst>
            <pc:docMk/>
            <pc:sldMk cId="641653763" sldId="3205"/>
            <ac:picMk id="44" creationId="{C698DE76-1BB8-4E14-902B-03DC3002E2A7}"/>
          </ac:picMkLst>
        </pc:picChg>
        <pc:picChg chg="mod">
          <ac:chgData name="Pfammatter, Florence" userId="52ee0349-382c-4ec9-879a-6cd059ae8008" providerId="ADAL" clId="{88926B28-3B9F-7845-BCEE-10B49B35E7D1}" dt="2023-05-21T09:59:58.858" v="2360"/>
          <ac:picMkLst>
            <pc:docMk/>
            <pc:sldMk cId="641653763" sldId="3205"/>
            <ac:picMk id="46" creationId="{4E473E8B-441C-40CA-92B0-8F5C46B9D2F7}"/>
          </ac:picMkLst>
        </pc:picChg>
        <pc:picChg chg="mod">
          <ac:chgData name="Pfammatter, Florence" userId="52ee0349-382c-4ec9-879a-6cd059ae8008" providerId="ADAL" clId="{88926B28-3B9F-7845-BCEE-10B49B35E7D1}" dt="2023-05-21T09:59:58.858" v="2360"/>
          <ac:picMkLst>
            <pc:docMk/>
            <pc:sldMk cId="641653763" sldId="3205"/>
            <ac:picMk id="48" creationId="{2BA6DA9C-A70F-4688-A96F-C4D428EE5E01}"/>
          </ac:picMkLst>
        </pc:picChg>
        <pc:cxnChg chg="mod">
          <ac:chgData name="Pfammatter, Florence" userId="52ee0349-382c-4ec9-879a-6cd059ae8008" providerId="ADAL" clId="{88926B28-3B9F-7845-BCEE-10B49B35E7D1}" dt="2023-05-21T09:59:58.858" v="2360"/>
          <ac:cxnSpMkLst>
            <pc:docMk/>
            <pc:sldMk cId="641653763" sldId="3205"/>
            <ac:cxnSpMk id="38" creationId="{2D97DA14-B5AB-4C1D-971B-2902B1B8065F}"/>
          </ac:cxnSpMkLst>
        </pc:cxnChg>
        <pc:cxnChg chg="mod">
          <ac:chgData name="Pfammatter, Florence" userId="52ee0349-382c-4ec9-879a-6cd059ae8008" providerId="ADAL" clId="{88926B28-3B9F-7845-BCEE-10B49B35E7D1}" dt="2023-05-21T09:59:58.858" v="2360"/>
          <ac:cxnSpMkLst>
            <pc:docMk/>
            <pc:sldMk cId="641653763" sldId="3205"/>
            <ac:cxnSpMk id="39" creationId="{92A5694F-5DC9-4528-BC9A-CE2A0BEB00CF}"/>
          </ac:cxnSpMkLst>
        </pc:cxnChg>
        <pc:cxnChg chg="mod">
          <ac:chgData name="Pfammatter, Florence" userId="52ee0349-382c-4ec9-879a-6cd059ae8008" providerId="ADAL" clId="{88926B28-3B9F-7845-BCEE-10B49B35E7D1}" dt="2023-05-21T09:59:58.858" v="2360"/>
          <ac:cxnSpMkLst>
            <pc:docMk/>
            <pc:sldMk cId="641653763" sldId="3205"/>
            <ac:cxnSpMk id="40" creationId="{A990A099-768E-44A5-AE92-6245C681DE22}"/>
          </ac:cxnSpMkLst>
        </pc:cxnChg>
        <pc:cxnChg chg="mod">
          <ac:chgData name="Pfammatter, Florence" userId="52ee0349-382c-4ec9-879a-6cd059ae8008" providerId="ADAL" clId="{88926B28-3B9F-7845-BCEE-10B49B35E7D1}" dt="2023-05-21T09:59:58.858" v="2360"/>
          <ac:cxnSpMkLst>
            <pc:docMk/>
            <pc:sldMk cId="641653763" sldId="3205"/>
            <ac:cxnSpMk id="41" creationId="{713C54A2-9FFA-48B5-B3F0-1543CE33694E}"/>
          </ac:cxnSpMkLst>
        </pc:cxnChg>
        <pc:cxnChg chg="mod">
          <ac:chgData name="Pfammatter, Florence" userId="52ee0349-382c-4ec9-879a-6cd059ae8008" providerId="ADAL" clId="{88926B28-3B9F-7845-BCEE-10B49B35E7D1}" dt="2023-05-21T09:59:58.858" v="2360"/>
          <ac:cxnSpMkLst>
            <pc:docMk/>
            <pc:sldMk cId="641653763" sldId="3205"/>
            <ac:cxnSpMk id="42" creationId="{6CBD2275-5223-499C-ADCB-06E309CA3FBA}"/>
          </ac:cxnSpMkLst>
        </pc:cxnChg>
      </pc:sldChg>
      <pc:sldChg chg="modSp">
        <pc:chgData name="Pfammatter, Florence" userId="52ee0349-382c-4ec9-879a-6cd059ae8008" providerId="ADAL" clId="{88926B28-3B9F-7845-BCEE-10B49B35E7D1}" dt="2023-05-21T09:59:58.858" v="2360"/>
        <pc:sldMkLst>
          <pc:docMk/>
          <pc:sldMk cId="785689267" sldId="3207"/>
        </pc:sldMkLst>
        <pc:spChg chg="mod">
          <ac:chgData name="Pfammatter, Florence" userId="52ee0349-382c-4ec9-879a-6cd059ae8008" providerId="ADAL" clId="{88926B28-3B9F-7845-BCEE-10B49B35E7D1}" dt="2023-05-21T09:59:58.858" v="2360"/>
          <ac:spMkLst>
            <pc:docMk/>
            <pc:sldMk cId="785689267" sldId="3207"/>
            <ac:spMk id="2" creationId="{47D5CD6A-2C81-4F78-9430-47DD8AAE5BE6}"/>
          </ac:spMkLst>
        </pc:spChg>
        <pc:spChg chg="mod">
          <ac:chgData name="Pfammatter, Florence" userId="52ee0349-382c-4ec9-879a-6cd059ae8008" providerId="ADAL" clId="{88926B28-3B9F-7845-BCEE-10B49B35E7D1}" dt="2023-05-21T09:59:58.858" v="2360"/>
          <ac:spMkLst>
            <pc:docMk/>
            <pc:sldMk cId="785689267" sldId="3207"/>
            <ac:spMk id="4" creationId="{0230EE7B-F614-4746-9DE2-26E5CC5B8D50}"/>
          </ac:spMkLst>
        </pc:spChg>
        <pc:spChg chg="mod">
          <ac:chgData name="Pfammatter, Florence" userId="52ee0349-382c-4ec9-879a-6cd059ae8008" providerId="ADAL" clId="{88926B28-3B9F-7845-BCEE-10B49B35E7D1}" dt="2023-05-21T09:59:58.858" v="2360"/>
          <ac:spMkLst>
            <pc:docMk/>
            <pc:sldMk cId="785689267" sldId="3207"/>
            <ac:spMk id="5" creationId="{891973FF-FD80-4F05-8BE1-B08F7E737930}"/>
          </ac:spMkLst>
        </pc:spChg>
        <pc:spChg chg="mod">
          <ac:chgData name="Pfammatter, Florence" userId="52ee0349-382c-4ec9-879a-6cd059ae8008" providerId="ADAL" clId="{88926B28-3B9F-7845-BCEE-10B49B35E7D1}" dt="2023-05-21T09:59:58.858" v="2360"/>
          <ac:spMkLst>
            <pc:docMk/>
            <pc:sldMk cId="785689267" sldId="3207"/>
            <ac:spMk id="16" creationId="{26A9D6FE-20E3-41BF-8942-5CF14954BBF9}"/>
          </ac:spMkLst>
        </pc:spChg>
        <pc:spChg chg="mod">
          <ac:chgData name="Pfammatter, Florence" userId="52ee0349-382c-4ec9-879a-6cd059ae8008" providerId="ADAL" clId="{88926B28-3B9F-7845-BCEE-10B49B35E7D1}" dt="2023-05-21T09:59:58.858" v="2360"/>
          <ac:spMkLst>
            <pc:docMk/>
            <pc:sldMk cId="785689267" sldId="3207"/>
            <ac:spMk id="17" creationId="{5C2AB42E-4F53-46D7-AD7F-E4B11B3BB303}"/>
          </ac:spMkLst>
        </pc:spChg>
        <pc:spChg chg="mod">
          <ac:chgData name="Pfammatter, Florence" userId="52ee0349-382c-4ec9-879a-6cd059ae8008" providerId="ADAL" clId="{88926B28-3B9F-7845-BCEE-10B49B35E7D1}" dt="2023-05-21T09:59:58.858" v="2360"/>
          <ac:spMkLst>
            <pc:docMk/>
            <pc:sldMk cId="785689267" sldId="3207"/>
            <ac:spMk id="18" creationId="{F53A36BB-CB92-467C-AE9D-9FF9282C40D0}"/>
          </ac:spMkLst>
        </pc:spChg>
        <pc:spChg chg="mod">
          <ac:chgData name="Pfammatter, Florence" userId="52ee0349-382c-4ec9-879a-6cd059ae8008" providerId="ADAL" clId="{88926B28-3B9F-7845-BCEE-10B49B35E7D1}" dt="2023-05-21T09:59:58.858" v="2360"/>
          <ac:spMkLst>
            <pc:docMk/>
            <pc:sldMk cId="785689267" sldId="3207"/>
            <ac:spMk id="19" creationId="{53D2A7AA-798E-42CF-BB8A-C13962A8A9D0}"/>
          </ac:spMkLst>
        </pc:spChg>
        <pc:spChg chg="mod">
          <ac:chgData name="Pfammatter, Florence" userId="52ee0349-382c-4ec9-879a-6cd059ae8008" providerId="ADAL" clId="{88926B28-3B9F-7845-BCEE-10B49B35E7D1}" dt="2023-05-21T09:59:58.858" v="2360"/>
          <ac:spMkLst>
            <pc:docMk/>
            <pc:sldMk cId="785689267" sldId="3207"/>
            <ac:spMk id="20" creationId="{F5138F44-3725-4B61-BC4A-C2B8C99EC003}"/>
          </ac:spMkLst>
        </pc:spChg>
        <pc:spChg chg="mod">
          <ac:chgData name="Pfammatter, Florence" userId="52ee0349-382c-4ec9-879a-6cd059ae8008" providerId="ADAL" clId="{88926B28-3B9F-7845-BCEE-10B49B35E7D1}" dt="2023-05-21T09:59:58.858" v="2360"/>
          <ac:spMkLst>
            <pc:docMk/>
            <pc:sldMk cId="785689267" sldId="3207"/>
            <ac:spMk id="23" creationId="{A354D285-7D27-4398-96CE-293DFEE77127}"/>
          </ac:spMkLst>
        </pc:spChg>
        <pc:spChg chg="mod">
          <ac:chgData name="Pfammatter, Florence" userId="52ee0349-382c-4ec9-879a-6cd059ae8008" providerId="ADAL" clId="{88926B28-3B9F-7845-BCEE-10B49B35E7D1}" dt="2023-05-21T09:59:58.858" v="2360"/>
          <ac:spMkLst>
            <pc:docMk/>
            <pc:sldMk cId="785689267" sldId="3207"/>
            <ac:spMk id="27" creationId="{98A9886D-9876-4D80-AD34-9524991DEB50}"/>
          </ac:spMkLst>
        </pc:spChg>
        <pc:spChg chg="mod">
          <ac:chgData name="Pfammatter, Florence" userId="52ee0349-382c-4ec9-879a-6cd059ae8008" providerId="ADAL" clId="{88926B28-3B9F-7845-BCEE-10B49B35E7D1}" dt="2023-05-21T09:59:58.858" v="2360"/>
          <ac:spMkLst>
            <pc:docMk/>
            <pc:sldMk cId="785689267" sldId="3207"/>
            <ac:spMk id="28" creationId="{32890AC7-A87C-4D89-A9B7-7A144A1218B4}"/>
          </ac:spMkLst>
        </pc:spChg>
        <pc:spChg chg="mod">
          <ac:chgData name="Pfammatter, Florence" userId="52ee0349-382c-4ec9-879a-6cd059ae8008" providerId="ADAL" clId="{88926B28-3B9F-7845-BCEE-10B49B35E7D1}" dt="2023-05-21T09:59:58.858" v="2360"/>
          <ac:spMkLst>
            <pc:docMk/>
            <pc:sldMk cId="785689267" sldId="3207"/>
            <ac:spMk id="29" creationId="{83CA8514-B0F7-4384-A1BF-A4D9DABDF4CA}"/>
          </ac:spMkLst>
        </pc:spChg>
        <pc:spChg chg="mod">
          <ac:chgData name="Pfammatter, Florence" userId="52ee0349-382c-4ec9-879a-6cd059ae8008" providerId="ADAL" clId="{88926B28-3B9F-7845-BCEE-10B49B35E7D1}" dt="2023-05-21T09:59:58.858" v="2360"/>
          <ac:spMkLst>
            <pc:docMk/>
            <pc:sldMk cId="785689267" sldId="3207"/>
            <ac:spMk id="30" creationId="{402E01B9-DF68-4D7A-98E6-EF86855E8790}"/>
          </ac:spMkLst>
        </pc:spChg>
        <pc:spChg chg="mod">
          <ac:chgData name="Pfammatter, Florence" userId="52ee0349-382c-4ec9-879a-6cd059ae8008" providerId="ADAL" clId="{88926B28-3B9F-7845-BCEE-10B49B35E7D1}" dt="2023-05-21T09:59:58.858" v="2360"/>
          <ac:spMkLst>
            <pc:docMk/>
            <pc:sldMk cId="785689267" sldId="3207"/>
            <ac:spMk id="31" creationId="{08089421-98D1-40EF-80AD-3B5AFD6E9878}"/>
          </ac:spMkLst>
        </pc:spChg>
        <pc:spChg chg="mod">
          <ac:chgData name="Pfammatter, Florence" userId="52ee0349-382c-4ec9-879a-6cd059ae8008" providerId="ADAL" clId="{88926B28-3B9F-7845-BCEE-10B49B35E7D1}" dt="2023-05-21T09:59:58.858" v="2360"/>
          <ac:spMkLst>
            <pc:docMk/>
            <pc:sldMk cId="785689267" sldId="3207"/>
            <ac:spMk id="32" creationId="{9B03D03E-9F67-449B-A21C-AFEDAFC6A2DF}"/>
          </ac:spMkLst>
        </pc:spChg>
        <pc:spChg chg="mod">
          <ac:chgData name="Pfammatter, Florence" userId="52ee0349-382c-4ec9-879a-6cd059ae8008" providerId="ADAL" clId="{88926B28-3B9F-7845-BCEE-10B49B35E7D1}" dt="2023-05-21T09:59:58.858" v="2360"/>
          <ac:spMkLst>
            <pc:docMk/>
            <pc:sldMk cId="785689267" sldId="3207"/>
            <ac:spMk id="33" creationId="{269D0FFA-3A56-47A3-AC7E-DA65D74A830E}"/>
          </ac:spMkLst>
        </pc:spChg>
        <pc:spChg chg="mod">
          <ac:chgData name="Pfammatter, Florence" userId="52ee0349-382c-4ec9-879a-6cd059ae8008" providerId="ADAL" clId="{88926B28-3B9F-7845-BCEE-10B49B35E7D1}" dt="2023-05-21T09:59:58.858" v="2360"/>
          <ac:spMkLst>
            <pc:docMk/>
            <pc:sldMk cId="785689267" sldId="3207"/>
            <ac:spMk id="34" creationId="{7E337829-4A4F-4E5F-87BE-04014C670FDB}"/>
          </ac:spMkLst>
        </pc:spChg>
        <pc:spChg chg="mod">
          <ac:chgData name="Pfammatter, Florence" userId="52ee0349-382c-4ec9-879a-6cd059ae8008" providerId="ADAL" clId="{88926B28-3B9F-7845-BCEE-10B49B35E7D1}" dt="2023-05-21T09:59:58.858" v="2360"/>
          <ac:spMkLst>
            <pc:docMk/>
            <pc:sldMk cId="785689267" sldId="3207"/>
            <ac:spMk id="39" creationId="{C4EC435B-2D5D-4BC1-90D8-5264016C3E6E}"/>
          </ac:spMkLst>
        </pc:spChg>
        <pc:spChg chg="mod">
          <ac:chgData name="Pfammatter, Florence" userId="52ee0349-382c-4ec9-879a-6cd059ae8008" providerId="ADAL" clId="{88926B28-3B9F-7845-BCEE-10B49B35E7D1}" dt="2023-05-21T09:59:58.858" v="2360"/>
          <ac:spMkLst>
            <pc:docMk/>
            <pc:sldMk cId="785689267" sldId="3207"/>
            <ac:spMk id="40" creationId="{A88D8F42-E24A-4B04-8BAC-4A16FF2C00C6}"/>
          </ac:spMkLst>
        </pc:spChg>
        <pc:spChg chg="mod">
          <ac:chgData name="Pfammatter, Florence" userId="52ee0349-382c-4ec9-879a-6cd059ae8008" providerId="ADAL" clId="{88926B28-3B9F-7845-BCEE-10B49B35E7D1}" dt="2023-05-21T09:59:58.858" v="2360"/>
          <ac:spMkLst>
            <pc:docMk/>
            <pc:sldMk cId="785689267" sldId="3207"/>
            <ac:spMk id="42" creationId="{7D9029A9-A3F9-4F43-9FB0-56D95A0C2DC8}"/>
          </ac:spMkLst>
        </pc:spChg>
        <pc:spChg chg="mod">
          <ac:chgData name="Pfammatter, Florence" userId="52ee0349-382c-4ec9-879a-6cd059ae8008" providerId="ADAL" clId="{88926B28-3B9F-7845-BCEE-10B49B35E7D1}" dt="2023-05-21T09:59:58.858" v="2360"/>
          <ac:spMkLst>
            <pc:docMk/>
            <pc:sldMk cId="785689267" sldId="3207"/>
            <ac:spMk id="43" creationId="{0CBA431A-16EE-4CC7-8459-89AE198A1973}"/>
          </ac:spMkLst>
        </pc:spChg>
        <pc:spChg chg="mod">
          <ac:chgData name="Pfammatter, Florence" userId="52ee0349-382c-4ec9-879a-6cd059ae8008" providerId="ADAL" clId="{88926B28-3B9F-7845-BCEE-10B49B35E7D1}" dt="2023-05-21T09:59:58.858" v="2360"/>
          <ac:spMkLst>
            <pc:docMk/>
            <pc:sldMk cId="785689267" sldId="3207"/>
            <ac:spMk id="44" creationId="{A0F4BC8E-6560-443E-8C48-3A67D0A933E2}"/>
          </ac:spMkLst>
        </pc:spChg>
        <pc:spChg chg="mod">
          <ac:chgData name="Pfammatter, Florence" userId="52ee0349-382c-4ec9-879a-6cd059ae8008" providerId="ADAL" clId="{88926B28-3B9F-7845-BCEE-10B49B35E7D1}" dt="2023-05-21T09:59:58.858" v="2360"/>
          <ac:spMkLst>
            <pc:docMk/>
            <pc:sldMk cId="785689267" sldId="3207"/>
            <ac:spMk id="45" creationId="{D96880A5-AC57-4ED3-8059-A8A3AE05F60C}"/>
          </ac:spMkLst>
        </pc:spChg>
        <pc:spChg chg="mod">
          <ac:chgData name="Pfammatter, Florence" userId="52ee0349-382c-4ec9-879a-6cd059ae8008" providerId="ADAL" clId="{88926B28-3B9F-7845-BCEE-10B49B35E7D1}" dt="2023-05-21T09:59:58.858" v="2360"/>
          <ac:spMkLst>
            <pc:docMk/>
            <pc:sldMk cId="785689267" sldId="3207"/>
            <ac:spMk id="49" creationId="{EF1CD033-5942-47FA-85F8-52BEE83F95C4}"/>
          </ac:spMkLst>
        </pc:spChg>
        <pc:spChg chg="mod">
          <ac:chgData name="Pfammatter, Florence" userId="52ee0349-382c-4ec9-879a-6cd059ae8008" providerId="ADAL" clId="{88926B28-3B9F-7845-BCEE-10B49B35E7D1}" dt="2023-05-21T09:59:58.858" v="2360"/>
          <ac:spMkLst>
            <pc:docMk/>
            <pc:sldMk cId="785689267" sldId="3207"/>
            <ac:spMk id="51" creationId="{1A231C95-D1C1-4552-AA6F-DC86C7666DA9}"/>
          </ac:spMkLst>
        </pc:spChg>
        <pc:spChg chg="mod">
          <ac:chgData name="Pfammatter, Florence" userId="52ee0349-382c-4ec9-879a-6cd059ae8008" providerId="ADAL" clId="{88926B28-3B9F-7845-BCEE-10B49B35E7D1}" dt="2023-05-21T09:59:58.858" v="2360"/>
          <ac:spMkLst>
            <pc:docMk/>
            <pc:sldMk cId="785689267" sldId="3207"/>
            <ac:spMk id="52" creationId="{CBF3B004-EF22-4538-9C19-4AAE0864DEF4}"/>
          </ac:spMkLst>
        </pc:spChg>
        <pc:spChg chg="mod">
          <ac:chgData name="Pfammatter, Florence" userId="52ee0349-382c-4ec9-879a-6cd059ae8008" providerId="ADAL" clId="{88926B28-3B9F-7845-BCEE-10B49B35E7D1}" dt="2023-05-21T09:59:58.858" v="2360"/>
          <ac:spMkLst>
            <pc:docMk/>
            <pc:sldMk cId="785689267" sldId="3207"/>
            <ac:spMk id="53" creationId="{D72D459E-AD2F-4F01-A823-CCB69ACE9FDC}"/>
          </ac:spMkLst>
        </pc:spChg>
        <pc:spChg chg="mod">
          <ac:chgData name="Pfammatter, Florence" userId="52ee0349-382c-4ec9-879a-6cd059ae8008" providerId="ADAL" clId="{88926B28-3B9F-7845-BCEE-10B49B35E7D1}" dt="2023-05-21T09:59:58.858" v="2360"/>
          <ac:spMkLst>
            <pc:docMk/>
            <pc:sldMk cId="785689267" sldId="3207"/>
            <ac:spMk id="54" creationId="{AE27E339-1C3D-42B8-98F1-A90E420AF4F3}"/>
          </ac:spMkLst>
        </pc:spChg>
        <pc:grpChg chg="mod">
          <ac:chgData name="Pfammatter, Florence" userId="52ee0349-382c-4ec9-879a-6cd059ae8008" providerId="ADAL" clId="{88926B28-3B9F-7845-BCEE-10B49B35E7D1}" dt="2023-05-21T09:59:58.858" v="2360"/>
          <ac:grpSpMkLst>
            <pc:docMk/>
            <pc:sldMk cId="785689267" sldId="3207"/>
            <ac:grpSpMk id="1" creationId="{00000000-0000-0000-0000-000000000000}"/>
          </ac:grpSpMkLst>
        </pc:grpChg>
        <pc:grpChg chg="mod">
          <ac:chgData name="Pfammatter, Florence" userId="52ee0349-382c-4ec9-879a-6cd059ae8008" providerId="ADAL" clId="{88926B28-3B9F-7845-BCEE-10B49B35E7D1}" dt="2023-05-21T09:59:58.858" v="2360"/>
          <ac:grpSpMkLst>
            <pc:docMk/>
            <pc:sldMk cId="785689267" sldId="3207"/>
            <ac:grpSpMk id="13" creationId="{56614846-58A9-4447-9BA9-673B63780C86}"/>
          </ac:grpSpMkLst>
        </pc:grpChg>
        <pc:grpChg chg="mod">
          <ac:chgData name="Pfammatter, Florence" userId="52ee0349-382c-4ec9-879a-6cd059ae8008" providerId="ADAL" clId="{88926B28-3B9F-7845-BCEE-10B49B35E7D1}" dt="2023-05-21T09:59:58.858" v="2360"/>
          <ac:grpSpMkLst>
            <pc:docMk/>
            <pc:sldMk cId="785689267" sldId="3207"/>
            <ac:grpSpMk id="15" creationId="{C99D7DA5-71E1-44CA-9841-0198A94E494D}"/>
          </ac:grpSpMkLst>
        </pc:grpChg>
        <pc:grpChg chg="mod">
          <ac:chgData name="Pfammatter, Florence" userId="52ee0349-382c-4ec9-879a-6cd059ae8008" providerId="ADAL" clId="{88926B28-3B9F-7845-BCEE-10B49B35E7D1}" dt="2023-05-21T09:59:58.858" v="2360"/>
          <ac:grpSpMkLst>
            <pc:docMk/>
            <pc:sldMk cId="785689267" sldId="3207"/>
            <ac:grpSpMk id="38" creationId="{A146BF8C-1371-4F73-B156-2EC5444B1B04}"/>
          </ac:grpSpMkLst>
        </pc:grpChg>
        <pc:grpChg chg="mod">
          <ac:chgData name="Pfammatter, Florence" userId="52ee0349-382c-4ec9-879a-6cd059ae8008" providerId="ADAL" clId="{88926B28-3B9F-7845-BCEE-10B49B35E7D1}" dt="2023-05-21T09:59:58.858" v="2360"/>
          <ac:grpSpMkLst>
            <pc:docMk/>
            <pc:sldMk cId="785689267" sldId="3207"/>
            <ac:grpSpMk id="41" creationId="{526ED631-AFE7-439A-ADCE-F571B38DF12D}"/>
          </ac:grpSpMkLst>
        </pc:grpChg>
        <pc:grpChg chg="mod">
          <ac:chgData name="Pfammatter, Florence" userId="52ee0349-382c-4ec9-879a-6cd059ae8008" providerId="ADAL" clId="{88926B28-3B9F-7845-BCEE-10B49B35E7D1}" dt="2023-05-21T09:59:58.858" v="2360"/>
          <ac:grpSpMkLst>
            <pc:docMk/>
            <pc:sldMk cId="785689267" sldId="3207"/>
            <ac:grpSpMk id="55" creationId="{3AE62B48-C1DD-4925-97A7-3A37E441872D}"/>
          </ac:grpSpMkLst>
        </pc:grpChg>
        <pc:grpChg chg="mod">
          <ac:chgData name="Pfammatter, Florence" userId="52ee0349-382c-4ec9-879a-6cd059ae8008" providerId="ADAL" clId="{88926B28-3B9F-7845-BCEE-10B49B35E7D1}" dt="2023-05-21T09:59:58.858" v="2360"/>
          <ac:grpSpMkLst>
            <pc:docMk/>
            <pc:sldMk cId="785689267" sldId="3207"/>
            <ac:grpSpMk id="56" creationId="{FA46592D-0FC6-47B2-B828-659F7840FB20}"/>
          </ac:grpSpMkLst>
        </pc:grpChg>
        <pc:graphicFrameChg chg="mod">
          <ac:chgData name="Pfammatter, Florence" userId="52ee0349-382c-4ec9-879a-6cd059ae8008" providerId="ADAL" clId="{88926B28-3B9F-7845-BCEE-10B49B35E7D1}" dt="2023-05-21T09:59:58.858" v="2360"/>
          <ac:graphicFrameMkLst>
            <pc:docMk/>
            <pc:sldMk cId="785689267" sldId="3207"/>
            <ac:graphicFrameMk id="7" creationId="{B7CE73F4-535C-4D1E-B3A7-D99F89C93D45}"/>
          </ac:graphicFrameMkLst>
        </pc:graphicFrameChg>
        <pc:picChg chg="mod">
          <ac:chgData name="Pfammatter, Florence" userId="52ee0349-382c-4ec9-879a-6cd059ae8008" providerId="ADAL" clId="{88926B28-3B9F-7845-BCEE-10B49B35E7D1}" dt="2023-05-21T09:59:58.858" v="2360"/>
          <ac:picMkLst>
            <pc:docMk/>
            <pc:sldMk cId="785689267" sldId="3207"/>
            <ac:picMk id="9" creationId="{EAF0F3B6-A9B3-46B1-93A4-82008620D0AB}"/>
          </ac:picMkLst>
        </pc:picChg>
        <pc:cxnChg chg="mod">
          <ac:chgData name="Pfammatter, Florence" userId="52ee0349-382c-4ec9-879a-6cd059ae8008" providerId="ADAL" clId="{88926B28-3B9F-7845-BCEE-10B49B35E7D1}" dt="2023-05-21T09:59:58.858" v="2360"/>
          <ac:cxnSpMkLst>
            <pc:docMk/>
            <pc:sldMk cId="785689267" sldId="3207"/>
            <ac:cxnSpMk id="14" creationId="{252733F0-131A-40D9-882E-A0C0347C0D54}"/>
          </ac:cxnSpMkLst>
        </pc:cxnChg>
        <pc:cxnChg chg="mod">
          <ac:chgData name="Pfammatter, Florence" userId="52ee0349-382c-4ec9-879a-6cd059ae8008" providerId="ADAL" clId="{88926B28-3B9F-7845-BCEE-10B49B35E7D1}" dt="2023-05-21T09:59:58.858" v="2360"/>
          <ac:cxnSpMkLst>
            <pc:docMk/>
            <pc:sldMk cId="785689267" sldId="3207"/>
            <ac:cxnSpMk id="21" creationId="{CAD50A44-DD10-48C4-A37E-B69B2AF92292}"/>
          </ac:cxnSpMkLst>
        </pc:cxnChg>
        <pc:cxnChg chg="mod">
          <ac:chgData name="Pfammatter, Florence" userId="52ee0349-382c-4ec9-879a-6cd059ae8008" providerId="ADAL" clId="{88926B28-3B9F-7845-BCEE-10B49B35E7D1}" dt="2023-05-21T09:59:58.858" v="2360"/>
          <ac:cxnSpMkLst>
            <pc:docMk/>
            <pc:sldMk cId="785689267" sldId="3207"/>
            <ac:cxnSpMk id="24" creationId="{9856AD43-4257-46D5-A4E5-990401ED2F65}"/>
          </ac:cxnSpMkLst>
        </pc:cxnChg>
        <pc:cxnChg chg="mod">
          <ac:chgData name="Pfammatter, Florence" userId="52ee0349-382c-4ec9-879a-6cd059ae8008" providerId="ADAL" clId="{88926B28-3B9F-7845-BCEE-10B49B35E7D1}" dt="2023-05-21T09:59:58.858" v="2360"/>
          <ac:cxnSpMkLst>
            <pc:docMk/>
            <pc:sldMk cId="785689267" sldId="3207"/>
            <ac:cxnSpMk id="46" creationId="{4D54E876-C8DD-43F3-9D1C-1A103FF3E18E}"/>
          </ac:cxnSpMkLst>
        </pc:cxnChg>
        <pc:cxnChg chg="mod">
          <ac:chgData name="Pfammatter, Florence" userId="52ee0349-382c-4ec9-879a-6cd059ae8008" providerId="ADAL" clId="{88926B28-3B9F-7845-BCEE-10B49B35E7D1}" dt="2023-05-21T09:59:58.858" v="2360"/>
          <ac:cxnSpMkLst>
            <pc:docMk/>
            <pc:sldMk cId="785689267" sldId="3207"/>
            <ac:cxnSpMk id="47" creationId="{D45B9820-43EE-4BC4-A897-45DE57E77E7B}"/>
          </ac:cxnSpMkLst>
        </pc:cxnChg>
      </pc:sldChg>
      <pc:sldChg chg="modSp new mod">
        <pc:chgData name="Pfammatter, Florence" userId="52ee0349-382c-4ec9-879a-6cd059ae8008" providerId="ADAL" clId="{88926B28-3B9F-7845-BCEE-10B49B35E7D1}" dt="2023-05-22T09:01:20.077" v="2485" actId="20577"/>
        <pc:sldMkLst>
          <pc:docMk/>
          <pc:sldMk cId="1791784357" sldId="3208"/>
        </pc:sldMkLst>
        <pc:spChg chg="mod">
          <ac:chgData name="Pfammatter, Florence" userId="52ee0349-382c-4ec9-879a-6cd059ae8008" providerId="ADAL" clId="{88926B28-3B9F-7845-BCEE-10B49B35E7D1}" dt="2023-05-20T16:43:35.135" v="1966" actId="20577"/>
          <ac:spMkLst>
            <pc:docMk/>
            <pc:sldMk cId="1791784357" sldId="3208"/>
            <ac:spMk id="2" creationId="{86588AAA-D239-70DA-8E1E-F60C235006A1}"/>
          </ac:spMkLst>
        </pc:spChg>
        <pc:spChg chg="mod">
          <ac:chgData name="Pfammatter, Florence" userId="52ee0349-382c-4ec9-879a-6cd059ae8008" providerId="ADAL" clId="{88926B28-3B9F-7845-BCEE-10B49B35E7D1}" dt="2023-05-22T09:01:20.077" v="2485" actId="20577"/>
          <ac:spMkLst>
            <pc:docMk/>
            <pc:sldMk cId="1791784357" sldId="3208"/>
            <ac:spMk id="3" creationId="{56C86766-88B1-33B4-6C82-A24CE94818B7}"/>
          </ac:spMkLst>
        </pc:spChg>
      </pc:sldChg>
    </pc:docChg>
  </pc:docChgLst>
  <pc:docChgLst>
    <pc:chgData name="Kaan Aydin" userId="806ac4fb-eee5-4f85-962b-93e58f7d516c" providerId="ADAL" clId="{D060BC77-27F7-4805-9C05-418EFAFAD8FA}"/>
    <pc:docChg chg="undo redo custSel addSld delSld modSld">
      <pc:chgData name="Kaan Aydin" userId="806ac4fb-eee5-4f85-962b-93e58f7d516c" providerId="ADAL" clId="{D060BC77-27F7-4805-9C05-418EFAFAD8FA}" dt="2023-05-19T21:59:38.533" v="22418" actId="732"/>
      <pc:docMkLst>
        <pc:docMk/>
      </pc:docMkLst>
      <pc:sldChg chg="addSp modSp">
        <pc:chgData name="Kaan Aydin" userId="806ac4fb-eee5-4f85-962b-93e58f7d516c" providerId="ADAL" clId="{D060BC77-27F7-4805-9C05-418EFAFAD8FA}" dt="2023-05-19T21:56:38.124" v="22204"/>
        <pc:sldMkLst>
          <pc:docMk/>
          <pc:sldMk cId="329095792" sldId="1807"/>
        </pc:sldMkLst>
        <pc:spChg chg="mod">
          <ac:chgData name="Kaan Aydin" userId="806ac4fb-eee5-4f85-962b-93e58f7d516c" providerId="ADAL" clId="{D060BC77-27F7-4805-9C05-418EFAFAD8FA}" dt="2023-05-19T21:48:59.807" v="21660" actId="947"/>
          <ac:spMkLst>
            <pc:docMk/>
            <pc:sldMk cId="329095792" sldId="1807"/>
            <ac:spMk id="4" creationId="{D60E2CDA-628A-D647-BD90-E161DE4078B0}"/>
          </ac:spMkLst>
        </pc:spChg>
        <pc:spChg chg="add">
          <ac:chgData name="Kaan Aydin" userId="806ac4fb-eee5-4f85-962b-93e58f7d516c" providerId="ADAL" clId="{D060BC77-27F7-4805-9C05-418EFAFAD8FA}" dt="2023-05-19T21:56:38.124" v="22204"/>
          <ac:spMkLst>
            <pc:docMk/>
            <pc:sldMk cId="329095792" sldId="1807"/>
            <ac:spMk id="9" creationId="{62283BC8-4B45-47C3-9536-0BA7DE45A003}"/>
          </ac:spMkLst>
        </pc:spChg>
      </pc:sldChg>
      <pc:sldChg chg="addSp">
        <pc:chgData name="Kaan Aydin" userId="806ac4fb-eee5-4f85-962b-93e58f7d516c" providerId="ADAL" clId="{D060BC77-27F7-4805-9C05-418EFAFAD8FA}" dt="2023-05-19T21:51:18.547" v="21711"/>
        <pc:sldMkLst>
          <pc:docMk/>
          <pc:sldMk cId="2180554626" sldId="1968"/>
        </pc:sldMkLst>
        <pc:spChg chg="add">
          <ac:chgData name="Kaan Aydin" userId="806ac4fb-eee5-4f85-962b-93e58f7d516c" providerId="ADAL" clId="{D060BC77-27F7-4805-9C05-418EFAFAD8FA}" dt="2023-05-19T21:51:18.547" v="21711"/>
          <ac:spMkLst>
            <pc:docMk/>
            <pc:sldMk cId="2180554626" sldId="1968"/>
            <ac:spMk id="11" creationId="{6A73D46E-A57C-47BF-BFC4-3BDE56540232}"/>
          </ac:spMkLst>
        </pc:spChg>
      </pc:sldChg>
      <pc:sldChg chg="del">
        <pc:chgData name="Kaan Aydin" userId="806ac4fb-eee5-4f85-962b-93e58f7d516c" providerId="ADAL" clId="{D060BC77-27F7-4805-9C05-418EFAFAD8FA}" dt="2023-05-19T21:58:17.055" v="22328" actId="2696"/>
        <pc:sldMkLst>
          <pc:docMk/>
          <pc:sldMk cId="2596896736" sldId="3196"/>
        </pc:sldMkLst>
      </pc:sldChg>
      <pc:sldChg chg="del">
        <pc:chgData name="Kaan Aydin" userId="806ac4fb-eee5-4f85-962b-93e58f7d516c" providerId="ADAL" clId="{D060BC77-27F7-4805-9C05-418EFAFAD8FA}" dt="2023-05-19T21:58:17.071" v="22329" actId="2696"/>
        <pc:sldMkLst>
          <pc:docMk/>
          <pc:sldMk cId="1463318251" sldId="3197"/>
        </pc:sldMkLst>
      </pc:sldChg>
      <pc:sldChg chg="addSp modSp">
        <pc:chgData name="Kaan Aydin" userId="806ac4fb-eee5-4f85-962b-93e58f7d516c" providerId="ADAL" clId="{D060BC77-27F7-4805-9C05-418EFAFAD8FA}" dt="2023-05-19T21:51:17.090" v="21710" actId="1076"/>
        <pc:sldMkLst>
          <pc:docMk/>
          <pc:sldMk cId="3675452371" sldId="3198"/>
        </pc:sldMkLst>
        <pc:spChg chg="add mod">
          <ac:chgData name="Kaan Aydin" userId="806ac4fb-eee5-4f85-962b-93e58f7d516c" providerId="ADAL" clId="{D060BC77-27F7-4805-9C05-418EFAFAD8FA}" dt="2023-05-19T21:51:17.090" v="21710" actId="1076"/>
          <ac:spMkLst>
            <pc:docMk/>
            <pc:sldMk cId="3675452371" sldId="3198"/>
            <ac:spMk id="3" creationId="{63849ACE-E810-410D-B721-91C4C6377E35}"/>
          </ac:spMkLst>
        </pc:spChg>
      </pc:sldChg>
      <pc:sldChg chg="addSp delSp modSp modAnim">
        <pc:chgData name="Kaan Aydin" userId="806ac4fb-eee5-4f85-962b-93e58f7d516c" providerId="ADAL" clId="{D060BC77-27F7-4805-9C05-418EFAFAD8FA}" dt="2023-05-19T21:51:20.151" v="21712"/>
        <pc:sldMkLst>
          <pc:docMk/>
          <pc:sldMk cId="345129480" sldId="3199"/>
        </pc:sldMkLst>
        <pc:spChg chg="mod ord">
          <ac:chgData name="Kaan Aydin" userId="806ac4fb-eee5-4f85-962b-93e58f7d516c" providerId="ADAL" clId="{D060BC77-27F7-4805-9C05-418EFAFAD8FA}" dt="2023-05-19T21:48:09.033" v="21564"/>
          <ac:spMkLst>
            <pc:docMk/>
            <pc:sldMk cId="345129480" sldId="3199"/>
            <ac:spMk id="2" creationId="{00000000-0000-0000-0000-000000000000}"/>
          </ac:spMkLst>
        </pc:spChg>
        <pc:spChg chg="add del mod ord">
          <ac:chgData name="Kaan Aydin" userId="806ac4fb-eee5-4f85-962b-93e58f7d516c" providerId="ADAL" clId="{D060BC77-27F7-4805-9C05-418EFAFAD8FA}" dt="2023-05-19T21:24:25.968" v="18317" actId="478"/>
          <ac:spMkLst>
            <pc:docMk/>
            <pc:sldMk cId="345129480" sldId="3199"/>
            <ac:spMk id="3" creationId="{B29BD1C8-B210-478A-8DA5-44046607E0E9}"/>
          </ac:spMkLst>
        </pc:spChg>
        <pc:spChg chg="mod ord">
          <ac:chgData name="Kaan Aydin" userId="806ac4fb-eee5-4f85-962b-93e58f7d516c" providerId="ADAL" clId="{D060BC77-27F7-4805-9C05-418EFAFAD8FA}" dt="2023-05-19T21:48:09.033" v="21566"/>
          <ac:spMkLst>
            <pc:docMk/>
            <pc:sldMk cId="345129480" sldId="3199"/>
            <ac:spMk id="4" creationId="{B1831791-37DA-C749-8646-93BA991B91D0}"/>
          </ac:spMkLst>
        </pc:spChg>
        <pc:spChg chg="mod ord">
          <ac:chgData name="Kaan Aydin" userId="806ac4fb-eee5-4f85-962b-93e58f7d516c" providerId="ADAL" clId="{D060BC77-27F7-4805-9C05-418EFAFAD8FA}" dt="2023-05-19T21:48:09.035" v="21582"/>
          <ac:spMkLst>
            <pc:docMk/>
            <pc:sldMk cId="345129480" sldId="3199"/>
            <ac:spMk id="5" creationId="{8CB8985B-6C95-BC44-8784-8F90D34EA5F6}"/>
          </ac:spMkLst>
        </pc:spChg>
        <pc:spChg chg="add del mod">
          <ac:chgData name="Kaan Aydin" userId="806ac4fb-eee5-4f85-962b-93e58f7d516c" providerId="ADAL" clId="{D060BC77-27F7-4805-9C05-418EFAFAD8FA}" dt="2023-05-19T00:20:07.764" v="4435"/>
          <ac:spMkLst>
            <pc:docMk/>
            <pc:sldMk cId="345129480" sldId="3199"/>
            <ac:spMk id="6" creationId="{340EC2C5-3F56-465C-87BE-B3611F3666A8}"/>
          </ac:spMkLst>
        </pc:spChg>
        <pc:spChg chg="add del mod">
          <ac:chgData name="Kaan Aydin" userId="806ac4fb-eee5-4f85-962b-93e58f7d516c" providerId="ADAL" clId="{D060BC77-27F7-4805-9C05-418EFAFAD8FA}" dt="2023-05-19T20:53:42.858" v="9130"/>
          <ac:spMkLst>
            <pc:docMk/>
            <pc:sldMk cId="345129480" sldId="3199"/>
            <ac:spMk id="6" creationId="{E9ACB782-AF52-4DA6-AA08-D2E26E6CA0F3}"/>
          </ac:spMkLst>
        </pc:spChg>
        <pc:spChg chg="add del mod">
          <ac:chgData name="Kaan Aydin" userId="806ac4fb-eee5-4f85-962b-93e58f7d516c" providerId="ADAL" clId="{D060BC77-27F7-4805-9C05-418EFAFAD8FA}" dt="2023-05-19T20:53:45.916" v="9375"/>
          <ac:spMkLst>
            <pc:docMk/>
            <pc:sldMk cId="345129480" sldId="3199"/>
            <ac:spMk id="8" creationId="{435FAC33-9274-41AB-A1F2-C3EE7B3BD045}"/>
          </ac:spMkLst>
        </pc:spChg>
        <pc:spChg chg="add del mod">
          <ac:chgData name="Kaan Aydin" userId="806ac4fb-eee5-4f85-962b-93e58f7d516c" providerId="ADAL" clId="{D060BC77-27F7-4805-9C05-418EFAFAD8FA}" dt="2023-05-19T20:53:49.065" v="9550"/>
          <ac:spMkLst>
            <pc:docMk/>
            <pc:sldMk cId="345129480" sldId="3199"/>
            <ac:spMk id="9" creationId="{22954D45-8A20-409A-B639-E109950AFF05}"/>
          </ac:spMkLst>
        </pc:spChg>
        <pc:spChg chg="add del mod">
          <ac:chgData name="Kaan Aydin" userId="806ac4fb-eee5-4f85-962b-93e58f7d516c" providerId="ADAL" clId="{D060BC77-27F7-4805-9C05-418EFAFAD8FA}" dt="2023-05-19T20:53:58.902" v="9725"/>
          <ac:spMkLst>
            <pc:docMk/>
            <pc:sldMk cId="345129480" sldId="3199"/>
            <ac:spMk id="10" creationId="{25E7C309-EED3-448C-89DD-5B41EC8B70AC}"/>
          </ac:spMkLst>
        </pc:spChg>
        <pc:spChg chg="add mod ord">
          <ac:chgData name="Kaan Aydin" userId="806ac4fb-eee5-4f85-962b-93e58f7d516c" providerId="ADAL" clId="{D060BC77-27F7-4805-9C05-418EFAFAD8FA}" dt="2023-05-19T21:48:09.104" v="21627" actId="2711"/>
          <ac:spMkLst>
            <pc:docMk/>
            <pc:sldMk cId="345129480" sldId="3199"/>
            <ac:spMk id="11" creationId="{6B8D31A1-9860-4286-8A9E-11259CE303DA}"/>
          </ac:spMkLst>
        </pc:spChg>
        <pc:spChg chg="add del mod">
          <ac:chgData name="Kaan Aydin" userId="806ac4fb-eee5-4f85-962b-93e58f7d516c" providerId="ADAL" clId="{D060BC77-27F7-4805-9C05-418EFAFAD8FA}" dt="2023-05-19T01:07:28.883" v="8558"/>
          <ac:spMkLst>
            <pc:docMk/>
            <pc:sldMk cId="345129480" sldId="3199"/>
            <ac:spMk id="12" creationId="{A47ECCED-1264-4D18-8A2A-D1FD02F5C983}"/>
          </ac:spMkLst>
        </pc:spChg>
        <pc:spChg chg="add del mod">
          <ac:chgData name="Kaan Aydin" userId="806ac4fb-eee5-4f85-962b-93e58f7d516c" providerId="ADAL" clId="{D060BC77-27F7-4805-9C05-418EFAFAD8FA}" dt="2023-05-19T20:54:03.347" v="9900"/>
          <ac:spMkLst>
            <pc:docMk/>
            <pc:sldMk cId="345129480" sldId="3199"/>
            <ac:spMk id="12" creationId="{C5F1A42E-F63D-4138-86A3-5A2C5131DB8E}"/>
          </ac:spMkLst>
        </pc:spChg>
        <pc:spChg chg="add del mod">
          <ac:chgData name="Kaan Aydin" userId="806ac4fb-eee5-4f85-962b-93e58f7d516c" providerId="ADAL" clId="{D060BC77-27F7-4805-9C05-418EFAFAD8FA}" dt="2023-05-19T20:54:07.184" v="10075"/>
          <ac:spMkLst>
            <pc:docMk/>
            <pc:sldMk cId="345129480" sldId="3199"/>
            <ac:spMk id="13" creationId="{08E9C9A8-DA96-46F4-AF04-55F29A9AB383}"/>
          </ac:spMkLst>
        </pc:spChg>
        <pc:spChg chg="add del mod">
          <ac:chgData name="Kaan Aydin" userId="806ac4fb-eee5-4f85-962b-93e58f7d516c" providerId="ADAL" clId="{D060BC77-27F7-4805-9C05-418EFAFAD8FA}" dt="2023-05-19T20:54:11.364" v="10320"/>
          <ac:spMkLst>
            <pc:docMk/>
            <pc:sldMk cId="345129480" sldId="3199"/>
            <ac:spMk id="14" creationId="{527AB1F2-A964-4AA9-9A32-C6B4B4729216}"/>
          </ac:spMkLst>
        </pc:spChg>
        <pc:spChg chg="add del mod">
          <ac:chgData name="Kaan Aydin" userId="806ac4fb-eee5-4f85-962b-93e58f7d516c" providerId="ADAL" clId="{D060BC77-27F7-4805-9C05-418EFAFAD8FA}" dt="2023-05-19T20:54:19.281" v="11199"/>
          <ac:spMkLst>
            <pc:docMk/>
            <pc:sldMk cId="345129480" sldId="3199"/>
            <ac:spMk id="15" creationId="{F7D6001A-D35B-49DA-B3AE-BCE9A2BDA963}"/>
          </ac:spMkLst>
        </pc:spChg>
        <pc:spChg chg="add del mod">
          <ac:chgData name="Kaan Aydin" userId="806ac4fb-eee5-4f85-962b-93e58f7d516c" providerId="ADAL" clId="{D060BC77-27F7-4805-9C05-418EFAFAD8FA}" dt="2023-05-19T20:54:26.506" v="11468"/>
          <ac:spMkLst>
            <pc:docMk/>
            <pc:sldMk cId="345129480" sldId="3199"/>
            <ac:spMk id="16" creationId="{CA26AE96-694C-4830-8F4D-0B3D9F02F8DA}"/>
          </ac:spMkLst>
        </pc:spChg>
        <pc:spChg chg="add del mod">
          <ac:chgData name="Kaan Aydin" userId="806ac4fb-eee5-4f85-962b-93e58f7d516c" providerId="ADAL" clId="{D060BC77-27F7-4805-9C05-418EFAFAD8FA}" dt="2023-05-19T20:54:34.786" v="11643"/>
          <ac:spMkLst>
            <pc:docMk/>
            <pc:sldMk cId="345129480" sldId="3199"/>
            <ac:spMk id="17" creationId="{B3673946-6772-4DB8-AAF5-F8F605098EC3}"/>
          </ac:spMkLst>
        </pc:spChg>
        <pc:spChg chg="add del mod">
          <ac:chgData name="Kaan Aydin" userId="806ac4fb-eee5-4f85-962b-93e58f7d516c" providerId="ADAL" clId="{D060BC77-27F7-4805-9C05-418EFAFAD8FA}" dt="2023-05-19T20:56:56.262" v="13021"/>
          <ac:spMkLst>
            <pc:docMk/>
            <pc:sldMk cId="345129480" sldId="3199"/>
            <ac:spMk id="18" creationId="{73F18FF8-415B-4101-B41F-E6F0613EE033}"/>
          </ac:spMkLst>
        </pc:spChg>
        <pc:spChg chg="add del mod">
          <ac:chgData name="Kaan Aydin" userId="806ac4fb-eee5-4f85-962b-93e58f7d516c" providerId="ADAL" clId="{D060BC77-27F7-4805-9C05-418EFAFAD8FA}" dt="2023-05-19T20:56:55.047" v="12917"/>
          <ac:spMkLst>
            <pc:docMk/>
            <pc:sldMk cId="345129480" sldId="3199"/>
            <ac:spMk id="19" creationId="{418C296B-5347-49AB-9174-5880472E8AFE}"/>
          </ac:spMkLst>
        </pc:spChg>
        <pc:spChg chg="add del mod">
          <ac:chgData name="Kaan Aydin" userId="806ac4fb-eee5-4f85-962b-93e58f7d516c" providerId="ADAL" clId="{D060BC77-27F7-4805-9C05-418EFAFAD8FA}" dt="2023-05-19T20:56:54.431" v="12804"/>
          <ac:spMkLst>
            <pc:docMk/>
            <pc:sldMk cId="345129480" sldId="3199"/>
            <ac:spMk id="20" creationId="{3FF23006-5029-4D4F-A837-5DE6C0888EA4}"/>
          </ac:spMkLst>
        </pc:spChg>
        <pc:spChg chg="add del mod">
          <ac:chgData name="Kaan Aydin" userId="806ac4fb-eee5-4f85-962b-93e58f7d516c" providerId="ADAL" clId="{D060BC77-27F7-4805-9C05-418EFAFAD8FA}" dt="2023-05-19T20:56:53.820" v="12691"/>
          <ac:spMkLst>
            <pc:docMk/>
            <pc:sldMk cId="345129480" sldId="3199"/>
            <ac:spMk id="21" creationId="{0C9AE587-4F6A-4BCD-87C7-D96259E68DFD}"/>
          </ac:spMkLst>
        </pc:spChg>
        <pc:spChg chg="add del mod">
          <ac:chgData name="Kaan Aydin" userId="806ac4fb-eee5-4f85-962b-93e58f7d516c" providerId="ADAL" clId="{D060BC77-27F7-4805-9C05-418EFAFAD8FA}" dt="2023-05-19T20:56:52.506" v="12578"/>
          <ac:spMkLst>
            <pc:docMk/>
            <pc:sldMk cId="345129480" sldId="3199"/>
            <ac:spMk id="22" creationId="{A79817B0-EA1B-4A66-B830-95BB43C72949}"/>
          </ac:spMkLst>
        </pc:spChg>
        <pc:spChg chg="add del mod">
          <ac:chgData name="Kaan Aydin" userId="806ac4fb-eee5-4f85-962b-93e58f7d516c" providerId="ADAL" clId="{D060BC77-27F7-4805-9C05-418EFAFAD8FA}" dt="2023-05-19T20:56:58.305" v="13164"/>
          <ac:spMkLst>
            <pc:docMk/>
            <pc:sldMk cId="345129480" sldId="3199"/>
            <ac:spMk id="23" creationId="{8D04ADDA-9476-4D90-9C93-58283238E1A9}"/>
          </ac:spMkLst>
        </pc:spChg>
        <pc:spChg chg="add del mod">
          <ac:chgData name="Kaan Aydin" userId="806ac4fb-eee5-4f85-962b-93e58f7d516c" providerId="ADAL" clId="{D060BC77-27F7-4805-9C05-418EFAFAD8FA}" dt="2023-05-19T20:57:01.798" v="13333"/>
          <ac:spMkLst>
            <pc:docMk/>
            <pc:sldMk cId="345129480" sldId="3199"/>
            <ac:spMk id="24" creationId="{EF8CDFC2-AF6B-40C7-B843-BB4890A24A70}"/>
          </ac:spMkLst>
        </pc:spChg>
        <pc:spChg chg="add del mod">
          <ac:chgData name="Kaan Aydin" userId="806ac4fb-eee5-4f85-962b-93e58f7d516c" providerId="ADAL" clId="{D060BC77-27F7-4805-9C05-418EFAFAD8FA}" dt="2023-05-19T20:57:11.643" v="13516"/>
          <ac:spMkLst>
            <pc:docMk/>
            <pc:sldMk cId="345129480" sldId="3199"/>
            <ac:spMk id="25" creationId="{FEE49508-1AEE-4E15-82F0-2ADBA6F44FA2}"/>
          </ac:spMkLst>
        </pc:spChg>
        <pc:spChg chg="add del mod">
          <ac:chgData name="Kaan Aydin" userId="806ac4fb-eee5-4f85-962b-93e58f7d516c" providerId="ADAL" clId="{D060BC77-27F7-4805-9C05-418EFAFAD8FA}" dt="2023-05-19T20:57:18.126" v="13699"/>
          <ac:spMkLst>
            <pc:docMk/>
            <pc:sldMk cId="345129480" sldId="3199"/>
            <ac:spMk id="26" creationId="{554DA76F-0BD5-4461-95F5-1F06E193C164}"/>
          </ac:spMkLst>
        </pc:spChg>
        <pc:spChg chg="add del mod">
          <ac:chgData name="Kaan Aydin" userId="806ac4fb-eee5-4f85-962b-93e58f7d516c" providerId="ADAL" clId="{D060BC77-27F7-4805-9C05-418EFAFAD8FA}" dt="2023-05-19T20:57:32.343" v="13882"/>
          <ac:spMkLst>
            <pc:docMk/>
            <pc:sldMk cId="345129480" sldId="3199"/>
            <ac:spMk id="27" creationId="{0CE964C1-BFAE-4E3A-8111-A73E3EA07A19}"/>
          </ac:spMkLst>
        </pc:spChg>
        <pc:spChg chg="add del mod">
          <ac:chgData name="Kaan Aydin" userId="806ac4fb-eee5-4f85-962b-93e58f7d516c" providerId="ADAL" clId="{D060BC77-27F7-4805-9C05-418EFAFAD8FA}" dt="2023-05-19T20:57:50.624" v="14065"/>
          <ac:spMkLst>
            <pc:docMk/>
            <pc:sldMk cId="345129480" sldId="3199"/>
            <ac:spMk id="28" creationId="{BE881817-CFA0-42DC-BD71-3F496479F4AF}"/>
          </ac:spMkLst>
        </pc:spChg>
        <pc:spChg chg="add del mod">
          <ac:chgData name="Kaan Aydin" userId="806ac4fb-eee5-4f85-962b-93e58f7d516c" providerId="ADAL" clId="{D060BC77-27F7-4805-9C05-418EFAFAD8FA}" dt="2023-05-19T20:58:04.393" v="14301"/>
          <ac:spMkLst>
            <pc:docMk/>
            <pc:sldMk cId="345129480" sldId="3199"/>
            <ac:spMk id="29" creationId="{650814FD-1084-4C4D-9481-575C5DA413B0}"/>
          </ac:spMkLst>
        </pc:spChg>
        <pc:spChg chg="add del mod">
          <ac:chgData name="Kaan Aydin" userId="806ac4fb-eee5-4f85-962b-93e58f7d516c" providerId="ADAL" clId="{D060BC77-27F7-4805-9C05-418EFAFAD8FA}" dt="2023-05-19T20:58:05.886" v="14518"/>
          <ac:spMkLst>
            <pc:docMk/>
            <pc:sldMk cId="345129480" sldId="3199"/>
            <ac:spMk id="31" creationId="{D72790DA-3C88-429B-AEE7-39D2754B1112}"/>
          </ac:spMkLst>
        </pc:spChg>
        <pc:spChg chg="add del mod">
          <ac:chgData name="Kaan Aydin" userId="806ac4fb-eee5-4f85-962b-93e58f7d516c" providerId="ADAL" clId="{D060BC77-27F7-4805-9C05-418EFAFAD8FA}" dt="2023-05-19T20:58:07.340" v="14729"/>
          <ac:spMkLst>
            <pc:docMk/>
            <pc:sldMk cId="345129480" sldId="3199"/>
            <ac:spMk id="32" creationId="{45F306C0-9295-4327-A20C-27160B8353DD}"/>
          </ac:spMkLst>
        </pc:spChg>
        <pc:spChg chg="add del mod">
          <ac:chgData name="Kaan Aydin" userId="806ac4fb-eee5-4f85-962b-93e58f7d516c" providerId="ADAL" clId="{D060BC77-27F7-4805-9C05-418EFAFAD8FA}" dt="2023-05-19T20:58:33.776" v="14912"/>
          <ac:spMkLst>
            <pc:docMk/>
            <pc:sldMk cId="345129480" sldId="3199"/>
            <ac:spMk id="33" creationId="{CD7061CE-E59B-4720-BDAE-63146F1F3095}"/>
          </ac:spMkLst>
        </pc:spChg>
        <pc:spChg chg="add del mod">
          <ac:chgData name="Kaan Aydin" userId="806ac4fb-eee5-4f85-962b-93e58f7d516c" providerId="ADAL" clId="{D060BC77-27F7-4805-9C05-418EFAFAD8FA}" dt="2023-05-19T20:58:42.786" v="15095"/>
          <ac:spMkLst>
            <pc:docMk/>
            <pc:sldMk cId="345129480" sldId="3199"/>
            <ac:spMk id="34" creationId="{9B38965A-AD9C-46D8-A973-BD623DDE1681}"/>
          </ac:spMkLst>
        </pc:spChg>
        <pc:spChg chg="add del mod">
          <ac:chgData name="Kaan Aydin" userId="806ac4fb-eee5-4f85-962b-93e58f7d516c" providerId="ADAL" clId="{D060BC77-27F7-4805-9C05-418EFAFAD8FA}" dt="2023-05-19T20:58:45.285" v="15264"/>
          <ac:spMkLst>
            <pc:docMk/>
            <pc:sldMk cId="345129480" sldId="3199"/>
            <ac:spMk id="35" creationId="{A9FED0F5-0E8D-45CB-8E88-249E4FBEED6D}"/>
          </ac:spMkLst>
        </pc:spChg>
        <pc:spChg chg="add del mod">
          <ac:chgData name="Kaan Aydin" userId="806ac4fb-eee5-4f85-962b-93e58f7d516c" providerId="ADAL" clId="{D060BC77-27F7-4805-9C05-418EFAFAD8FA}" dt="2023-05-19T20:58:55.602" v="15454"/>
          <ac:spMkLst>
            <pc:docMk/>
            <pc:sldMk cId="345129480" sldId="3199"/>
            <ac:spMk id="36" creationId="{5AB8DBB3-1186-4CA4-BFED-CA1A64CE7609}"/>
          </ac:spMkLst>
        </pc:spChg>
        <pc:spChg chg="add del mod">
          <ac:chgData name="Kaan Aydin" userId="806ac4fb-eee5-4f85-962b-93e58f7d516c" providerId="ADAL" clId="{D060BC77-27F7-4805-9C05-418EFAFAD8FA}" dt="2023-05-19T20:58:59.737" v="15632"/>
          <ac:spMkLst>
            <pc:docMk/>
            <pc:sldMk cId="345129480" sldId="3199"/>
            <ac:spMk id="37" creationId="{E02276AF-9AFB-43EF-9BD5-3CC4F5C70D9C}"/>
          </ac:spMkLst>
        </pc:spChg>
        <pc:spChg chg="add del mod">
          <ac:chgData name="Kaan Aydin" userId="806ac4fb-eee5-4f85-962b-93e58f7d516c" providerId="ADAL" clId="{D060BC77-27F7-4805-9C05-418EFAFAD8FA}" dt="2023-05-19T20:59:19.985" v="15810"/>
          <ac:spMkLst>
            <pc:docMk/>
            <pc:sldMk cId="345129480" sldId="3199"/>
            <ac:spMk id="38" creationId="{16B57AA8-87D9-4B4D-9022-081EFF7AFB4A}"/>
          </ac:spMkLst>
        </pc:spChg>
        <pc:spChg chg="add del mod">
          <ac:chgData name="Kaan Aydin" userId="806ac4fb-eee5-4f85-962b-93e58f7d516c" providerId="ADAL" clId="{D060BC77-27F7-4805-9C05-418EFAFAD8FA}" dt="2023-05-19T21:00:10.879" v="16860"/>
          <ac:spMkLst>
            <pc:docMk/>
            <pc:sldMk cId="345129480" sldId="3199"/>
            <ac:spMk id="39" creationId="{90419DDC-04F4-4751-AAAA-7D895019568C}"/>
          </ac:spMkLst>
        </pc:spChg>
        <pc:spChg chg="add del mod">
          <ac:chgData name="Kaan Aydin" userId="806ac4fb-eee5-4f85-962b-93e58f7d516c" providerId="ADAL" clId="{D060BC77-27F7-4805-9C05-418EFAFAD8FA}" dt="2023-05-19T21:00:10.216" v="16760"/>
          <ac:spMkLst>
            <pc:docMk/>
            <pc:sldMk cId="345129480" sldId="3199"/>
            <ac:spMk id="40" creationId="{CFFD4D74-9224-402B-A5E4-A1B75A850110}"/>
          </ac:spMkLst>
        </pc:spChg>
        <pc:spChg chg="add del mod">
          <ac:chgData name="Kaan Aydin" userId="806ac4fb-eee5-4f85-962b-93e58f7d516c" providerId="ADAL" clId="{D060BC77-27F7-4805-9C05-418EFAFAD8FA}" dt="2023-05-19T21:00:09.611" v="16660"/>
          <ac:spMkLst>
            <pc:docMk/>
            <pc:sldMk cId="345129480" sldId="3199"/>
            <ac:spMk id="41" creationId="{B0285C8A-CCAD-48CB-A0DA-B6B4842E4351}"/>
          </ac:spMkLst>
        </pc:spChg>
        <pc:spChg chg="add del mod">
          <ac:chgData name="Kaan Aydin" userId="806ac4fb-eee5-4f85-962b-93e58f7d516c" providerId="ADAL" clId="{D060BC77-27F7-4805-9C05-418EFAFAD8FA}" dt="2023-05-19T21:00:08.966" v="16560"/>
          <ac:spMkLst>
            <pc:docMk/>
            <pc:sldMk cId="345129480" sldId="3199"/>
            <ac:spMk id="42" creationId="{01BB5769-80BA-4963-91AC-A409BDCA2EBE}"/>
          </ac:spMkLst>
        </pc:spChg>
        <pc:spChg chg="add del mod">
          <ac:chgData name="Kaan Aydin" userId="806ac4fb-eee5-4f85-962b-93e58f7d516c" providerId="ADAL" clId="{D060BC77-27F7-4805-9C05-418EFAFAD8FA}" dt="2023-05-19T21:02:27.472" v="17051"/>
          <ac:spMkLst>
            <pc:docMk/>
            <pc:sldMk cId="345129480" sldId="3199"/>
            <ac:spMk id="43" creationId="{9E936BC3-3770-4E1E-89EC-8305B171D74F}"/>
          </ac:spMkLst>
        </pc:spChg>
        <pc:spChg chg="add del mod">
          <ac:chgData name="Kaan Aydin" userId="806ac4fb-eee5-4f85-962b-93e58f7d516c" providerId="ADAL" clId="{D060BC77-27F7-4805-9C05-418EFAFAD8FA}" dt="2023-05-19T21:02:30.986" v="17215"/>
          <ac:spMkLst>
            <pc:docMk/>
            <pc:sldMk cId="345129480" sldId="3199"/>
            <ac:spMk id="44" creationId="{1395186C-0D5A-41F5-9131-093E32BBE885}"/>
          </ac:spMkLst>
        </pc:spChg>
        <pc:spChg chg="add del mod">
          <ac:chgData name="Kaan Aydin" userId="806ac4fb-eee5-4f85-962b-93e58f7d516c" providerId="ADAL" clId="{D060BC77-27F7-4805-9C05-418EFAFAD8FA}" dt="2023-05-19T21:02:37.747" v="17379"/>
          <ac:spMkLst>
            <pc:docMk/>
            <pc:sldMk cId="345129480" sldId="3199"/>
            <ac:spMk id="45" creationId="{7DCFC4AE-1D33-4CCF-8840-314868723F80}"/>
          </ac:spMkLst>
        </pc:spChg>
        <pc:spChg chg="add del mod">
          <ac:chgData name="Kaan Aydin" userId="806ac4fb-eee5-4f85-962b-93e58f7d516c" providerId="ADAL" clId="{D060BC77-27F7-4805-9C05-418EFAFAD8FA}" dt="2023-05-19T21:02:42.304" v="17543"/>
          <ac:spMkLst>
            <pc:docMk/>
            <pc:sldMk cId="345129480" sldId="3199"/>
            <ac:spMk id="46" creationId="{F818DC42-79E0-4DF2-93AB-4FF093571FDA}"/>
          </ac:spMkLst>
        </pc:spChg>
        <pc:spChg chg="add mod topLvl">
          <ac:chgData name="Kaan Aydin" userId="806ac4fb-eee5-4f85-962b-93e58f7d516c" providerId="ADAL" clId="{D060BC77-27F7-4805-9C05-418EFAFAD8FA}" dt="2023-05-19T21:48:09.104" v="21627" actId="2711"/>
          <ac:spMkLst>
            <pc:docMk/>
            <pc:sldMk cId="345129480" sldId="3199"/>
            <ac:spMk id="55" creationId="{C588B30A-435F-4004-929A-FCC0CB6D4343}"/>
          </ac:spMkLst>
        </pc:spChg>
        <pc:spChg chg="add mod ord">
          <ac:chgData name="Kaan Aydin" userId="806ac4fb-eee5-4f85-962b-93e58f7d516c" providerId="ADAL" clId="{D060BC77-27F7-4805-9C05-418EFAFAD8FA}" dt="2023-05-19T21:48:09.104" v="21627" actId="2711"/>
          <ac:spMkLst>
            <pc:docMk/>
            <pc:sldMk cId="345129480" sldId="3199"/>
            <ac:spMk id="60" creationId="{DFF1F71A-C90B-44E0-9ADB-8F1FAF459055}"/>
          </ac:spMkLst>
        </pc:spChg>
        <pc:spChg chg="add del mod ord">
          <ac:chgData name="Kaan Aydin" userId="806ac4fb-eee5-4f85-962b-93e58f7d516c" providerId="ADAL" clId="{D060BC77-27F7-4805-9C05-418EFAFAD8FA}" dt="2023-05-19T20:56:58.211" v="13027"/>
          <ac:spMkLst>
            <pc:docMk/>
            <pc:sldMk cId="345129480" sldId="3199"/>
            <ac:spMk id="72" creationId="{274ED4A3-0DA0-4B60-B8FE-E057BABF4557}"/>
          </ac:spMkLst>
        </pc:spChg>
        <pc:spChg chg="add mod ord">
          <ac:chgData name="Kaan Aydin" userId="806ac4fb-eee5-4f85-962b-93e58f7d516c" providerId="ADAL" clId="{D060BC77-27F7-4805-9C05-418EFAFAD8FA}" dt="2023-05-19T21:48:09.104" v="21627" actId="2711"/>
          <ac:spMkLst>
            <pc:docMk/>
            <pc:sldMk cId="345129480" sldId="3199"/>
            <ac:spMk id="75" creationId="{33E1BB83-D59F-4804-9930-87714CA6C04C}"/>
          </ac:spMkLst>
        </pc:spChg>
        <pc:spChg chg="add mod ord">
          <ac:chgData name="Kaan Aydin" userId="806ac4fb-eee5-4f85-962b-93e58f7d516c" providerId="ADAL" clId="{D060BC77-27F7-4805-9C05-418EFAFAD8FA}" dt="2023-05-19T21:48:09.104" v="21627" actId="2711"/>
          <ac:spMkLst>
            <pc:docMk/>
            <pc:sldMk cId="345129480" sldId="3199"/>
            <ac:spMk id="76" creationId="{C2F07C9E-AAA0-46FD-ABC1-B026D83CDA17}"/>
          </ac:spMkLst>
        </pc:spChg>
        <pc:spChg chg="add mod ord">
          <ac:chgData name="Kaan Aydin" userId="806ac4fb-eee5-4f85-962b-93e58f7d516c" providerId="ADAL" clId="{D060BC77-27F7-4805-9C05-418EFAFAD8FA}" dt="2023-05-19T21:48:09.104" v="21627" actId="2711"/>
          <ac:spMkLst>
            <pc:docMk/>
            <pc:sldMk cId="345129480" sldId="3199"/>
            <ac:spMk id="77" creationId="{AEC107EB-1222-40F6-A5DF-A98B2B0B607D}"/>
          </ac:spMkLst>
        </pc:spChg>
        <pc:spChg chg="add mod ord">
          <ac:chgData name="Kaan Aydin" userId="806ac4fb-eee5-4f85-962b-93e58f7d516c" providerId="ADAL" clId="{D060BC77-27F7-4805-9C05-418EFAFAD8FA}" dt="2023-05-19T21:48:09.104" v="21627" actId="2711"/>
          <ac:spMkLst>
            <pc:docMk/>
            <pc:sldMk cId="345129480" sldId="3199"/>
            <ac:spMk id="79" creationId="{7DE5E286-D638-4F6E-8601-CD9EB9EC713B}"/>
          </ac:spMkLst>
        </pc:spChg>
        <pc:spChg chg="add mod ord">
          <ac:chgData name="Kaan Aydin" userId="806ac4fb-eee5-4f85-962b-93e58f7d516c" providerId="ADAL" clId="{D060BC77-27F7-4805-9C05-418EFAFAD8FA}" dt="2023-05-19T21:48:09.104" v="21627" actId="2711"/>
          <ac:spMkLst>
            <pc:docMk/>
            <pc:sldMk cId="345129480" sldId="3199"/>
            <ac:spMk id="80" creationId="{F7E87E34-074E-4A0F-A37F-6B2B5C60EB11}"/>
          </ac:spMkLst>
        </pc:spChg>
        <pc:spChg chg="add mod ord">
          <ac:chgData name="Kaan Aydin" userId="806ac4fb-eee5-4f85-962b-93e58f7d516c" providerId="ADAL" clId="{D060BC77-27F7-4805-9C05-418EFAFAD8FA}" dt="2023-05-19T21:48:09.104" v="21627" actId="2711"/>
          <ac:spMkLst>
            <pc:docMk/>
            <pc:sldMk cId="345129480" sldId="3199"/>
            <ac:spMk id="81" creationId="{CB783B36-7C77-4F8E-8A45-C32393B692A0}"/>
          </ac:spMkLst>
        </pc:spChg>
        <pc:spChg chg="add del mod ord">
          <ac:chgData name="Kaan Aydin" userId="806ac4fb-eee5-4f85-962b-93e58f7d516c" providerId="ADAL" clId="{D060BC77-27F7-4805-9C05-418EFAFAD8FA}" dt="2023-05-19T20:58:05.750" v="14310"/>
          <ac:spMkLst>
            <pc:docMk/>
            <pc:sldMk cId="345129480" sldId="3199"/>
            <ac:spMk id="110" creationId="{F018348D-30E7-4A8E-8D1A-66D3BCF10769}"/>
          </ac:spMkLst>
        </pc:spChg>
        <pc:spChg chg="add mod topLvl">
          <ac:chgData name="Kaan Aydin" userId="806ac4fb-eee5-4f85-962b-93e58f7d516c" providerId="ADAL" clId="{D060BC77-27F7-4805-9C05-418EFAFAD8FA}" dt="2023-05-19T21:48:09.104" v="21627" actId="2711"/>
          <ac:spMkLst>
            <pc:docMk/>
            <pc:sldMk cId="345129480" sldId="3199"/>
            <ac:spMk id="155" creationId="{456A540E-E594-42CB-841C-843070026AE7}"/>
          </ac:spMkLst>
        </pc:spChg>
        <pc:spChg chg="add mod topLvl">
          <ac:chgData name="Kaan Aydin" userId="806ac4fb-eee5-4f85-962b-93e58f7d516c" providerId="ADAL" clId="{D060BC77-27F7-4805-9C05-418EFAFAD8FA}" dt="2023-05-19T21:48:09.104" v="21627" actId="2711"/>
          <ac:spMkLst>
            <pc:docMk/>
            <pc:sldMk cId="345129480" sldId="3199"/>
            <ac:spMk id="156" creationId="{887C3672-47EB-4446-B563-2FF3865BA1FA}"/>
          </ac:spMkLst>
        </pc:spChg>
        <pc:spChg chg="add mod topLvl">
          <ac:chgData name="Kaan Aydin" userId="806ac4fb-eee5-4f85-962b-93e58f7d516c" providerId="ADAL" clId="{D060BC77-27F7-4805-9C05-418EFAFAD8FA}" dt="2023-05-19T21:48:09.104" v="21627" actId="2711"/>
          <ac:spMkLst>
            <pc:docMk/>
            <pc:sldMk cId="345129480" sldId="3199"/>
            <ac:spMk id="157" creationId="{6B8AA4C2-9BB6-4E90-B14E-D51C863D8AB0}"/>
          </ac:spMkLst>
        </pc:spChg>
        <pc:spChg chg="add mod ord">
          <ac:chgData name="Kaan Aydin" userId="806ac4fb-eee5-4f85-962b-93e58f7d516c" providerId="ADAL" clId="{D060BC77-27F7-4805-9C05-418EFAFAD8FA}" dt="2023-05-19T21:48:09.104" v="21627" actId="2711"/>
          <ac:spMkLst>
            <pc:docMk/>
            <pc:sldMk cId="345129480" sldId="3199"/>
            <ac:spMk id="163" creationId="{64B3DA59-189F-4093-A04D-ECBE2BF79EC5}"/>
          </ac:spMkLst>
        </pc:spChg>
        <pc:spChg chg="add mod ord">
          <ac:chgData name="Kaan Aydin" userId="806ac4fb-eee5-4f85-962b-93e58f7d516c" providerId="ADAL" clId="{D060BC77-27F7-4805-9C05-418EFAFAD8FA}" dt="2023-05-19T21:48:09.104" v="21627" actId="2711"/>
          <ac:spMkLst>
            <pc:docMk/>
            <pc:sldMk cId="345129480" sldId="3199"/>
            <ac:spMk id="164" creationId="{AF757331-7A96-4318-A4EF-50D240117DC1}"/>
          </ac:spMkLst>
        </pc:spChg>
        <pc:spChg chg="add mod ord">
          <ac:chgData name="Kaan Aydin" userId="806ac4fb-eee5-4f85-962b-93e58f7d516c" providerId="ADAL" clId="{D060BC77-27F7-4805-9C05-418EFAFAD8FA}" dt="2023-05-19T21:48:09.104" v="21627" actId="2711"/>
          <ac:spMkLst>
            <pc:docMk/>
            <pc:sldMk cId="345129480" sldId="3199"/>
            <ac:spMk id="165" creationId="{655FF53E-466B-4C47-A654-8321A9BEC242}"/>
          </ac:spMkLst>
        </pc:spChg>
        <pc:spChg chg="add mod ord">
          <ac:chgData name="Kaan Aydin" userId="806ac4fb-eee5-4f85-962b-93e58f7d516c" providerId="ADAL" clId="{D060BC77-27F7-4805-9C05-418EFAFAD8FA}" dt="2023-05-19T21:48:09.104" v="21627" actId="2711"/>
          <ac:spMkLst>
            <pc:docMk/>
            <pc:sldMk cId="345129480" sldId="3199"/>
            <ac:spMk id="204" creationId="{02FA4B0D-7835-44CB-977C-5C1979A56BE6}"/>
          </ac:spMkLst>
        </pc:spChg>
        <pc:spChg chg="add">
          <ac:chgData name="Kaan Aydin" userId="806ac4fb-eee5-4f85-962b-93e58f7d516c" providerId="ADAL" clId="{D060BC77-27F7-4805-9C05-418EFAFAD8FA}" dt="2023-05-19T21:51:20.151" v="21712"/>
          <ac:spMkLst>
            <pc:docMk/>
            <pc:sldMk cId="345129480" sldId="3199"/>
            <ac:spMk id="211" creationId="{C1F728C7-9DC5-494C-B2CB-FEF60FB7858C}"/>
          </ac:spMkLst>
        </pc:spChg>
        <pc:spChg chg="mod ord">
          <ac:chgData name="Kaan Aydin" userId="806ac4fb-eee5-4f85-962b-93e58f7d516c" providerId="ADAL" clId="{D060BC77-27F7-4805-9C05-418EFAFAD8FA}" dt="2023-05-19T21:48:09.104" v="21627" actId="2711"/>
          <ac:spMkLst>
            <pc:docMk/>
            <pc:sldMk cId="345129480" sldId="3199"/>
            <ac:spMk id="332" creationId="{9CCF18EF-59E2-4A79-9FE1-B913BFA9F2C0}"/>
          </ac:spMkLst>
        </pc:spChg>
        <pc:spChg chg="mod ord">
          <ac:chgData name="Kaan Aydin" userId="806ac4fb-eee5-4f85-962b-93e58f7d516c" providerId="ADAL" clId="{D060BC77-27F7-4805-9C05-418EFAFAD8FA}" dt="2023-05-19T21:48:09.034" v="21572"/>
          <ac:spMkLst>
            <pc:docMk/>
            <pc:sldMk cId="345129480" sldId="3199"/>
            <ac:spMk id="368" creationId="{D971265D-785B-4F99-BD5B-E9681BECB661}"/>
          </ac:spMkLst>
        </pc:spChg>
        <pc:spChg chg="mod ord">
          <ac:chgData name="Kaan Aydin" userId="806ac4fb-eee5-4f85-962b-93e58f7d516c" providerId="ADAL" clId="{D060BC77-27F7-4805-9C05-418EFAFAD8FA}" dt="2023-05-19T21:48:09.034" v="21576"/>
          <ac:spMkLst>
            <pc:docMk/>
            <pc:sldMk cId="345129480" sldId="3199"/>
            <ac:spMk id="543" creationId="{A696DDEA-579A-44E8-BFC1-7BA3B524CB74}"/>
          </ac:spMkLst>
        </pc:spChg>
        <pc:spChg chg="del mod ord">
          <ac:chgData name="Kaan Aydin" userId="806ac4fb-eee5-4f85-962b-93e58f7d516c" providerId="ADAL" clId="{D060BC77-27F7-4805-9C05-418EFAFAD8FA}" dt="2023-05-19T20:58:55.479" v="15270"/>
          <ac:spMkLst>
            <pc:docMk/>
            <pc:sldMk cId="345129480" sldId="3199"/>
            <ac:spMk id="546" creationId="{286EB7EF-7990-4B78-8820-DC028BD4F690}"/>
          </ac:spMkLst>
        </pc:spChg>
        <pc:spChg chg="mod ord">
          <ac:chgData name="Kaan Aydin" userId="806ac4fb-eee5-4f85-962b-93e58f7d516c" providerId="ADAL" clId="{D060BC77-27F7-4805-9C05-418EFAFAD8FA}" dt="2023-05-19T21:48:09.035" v="21580"/>
          <ac:spMkLst>
            <pc:docMk/>
            <pc:sldMk cId="345129480" sldId="3199"/>
            <ac:spMk id="553" creationId="{E37D9387-D626-43D1-8106-0BC793E0966E}"/>
          </ac:spMkLst>
        </pc:spChg>
        <pc:spChg chg="mod ord topLvl">
          <ac:chgData name="Kaan Aydin" userId="806ac4fb-eee5-4f85-962b-93e58f7d516c" providerId="ADAL" clId="{D060BC77-27F7-4805-9C05-418EFAFAD8FA}" dt="2023-05-19T21:48:09.104" v="21627" actId="2711"/>
          <ac:spMkLst>
            <pc:docMk/>
            <pc:sldMk cId="345129480" sldId="3199"/>
            <ac:spMk id="672" creationId="{E5AC13B1-AC63-4CFB-A51B-0281A2941D31}"/>
          </ac:spMkLst>
        </pc:spChg>
        <pc:spChg chg="mod ord topLvl">
          <ac:chgData name="Kaan Aydin" userId="806ac4fb-eee5-4f85-962b-93e58f7d516c" providerId="ADAL" clId="{D060BC77-27F7-4805-9C05-418EFAFAD8FA}" dt="2023-05-19T21:48:09.104" v="21627" actId="2711"/>
          <ac:spMkLst>
            <pc:docMk/>
            <pc:sldMk cId="345129480" sldId="3199"/>
            <ac:spMk id="673" creationId="{F8263DF2-6D14-44FF-8F8A-32AFC827CE56}"/>
          </ac:spMkLst>
        </pc:spChg>
        <pc:spChg chg="mod ord topLvl">
          <ac:chgData name="Kaan Aydin" userId="806ac4fb-eee5-4f85-962b-93e58f7d516c" providerId="ADAL" clId="{D060BC77-27F7-4805-9C05-418EFAFAD8FA}" dt="2023-05-19T21:48:09.104" v="21627" actId="2711"/>
          <ac:spMkLst>
            <pc:docMk/>
            <pc:sldMk cId="345129480" sldId="3199"/>
            <ac:spMk id="674" creationId="{2A3836F8-FE39-4BC2-8B5A-25255DE3D675}"/>
          </ac:spMkLst>
        </pc:spChg>
        <pc:spChg chg="add del mod ord">
          <ac:chgData name="Kaan Aydin" userId="806ac4fb-eee5-4f85-962b-93e58f7d516c" providerId="ADAL" clId="{D060BC77-27F7-4805-9C05-418EFAFAD8FA}" dt="2023-05-19T21:48:09.035" v="21586"/>
          <ac:spMkLst>
            <pc:docMk/>
            <pc:sldMk cId="345129480" sldId="3199"/>
            <ac:spMk id="721" creationId="{B71E3C13-A22A-4B83-8C3B-DE2D7C9F4723}"/>
          </ac:spMkLst>
        </pc:spChg>
        <pc:spChg chg="mod ord topLvl">
          <ac:chgData name="Kaan Aydin" userId="806ac4fb-eee5-4f85-962b-93e58f7d516c" providerId="ADAL" clId="{D060BC77-27F7-4805-9C05-418EFAFAD8FA}" dt="2023-05-19T21:48:09.104" v="21627" actId="2711"/>
          <ac:spMkLst>
            <pc:docMk/>
            <pc:sldMk cId="345129480" sldId="3199"/>
            <ac:spMk id="872" creationId="{6FE5E459-B69A-4FDC-9EA2-E835EE744975}"/>
          </ac:spMkLst>
        </pc:spChg>
        <pc:spChg chg="del mod ord">
          <ac:chgData name="Kaan Aydin" userId="806ac4fb-eee5-4f85-962b-93e58f7d516c" providerId="ADAL" clId="{D060BC77-27F7-4805-9C05-418EFAFAD8FA}" dt="2023-05-19T21:05:21.132" v="17760" actId="478"/>
          <ac:spMkLst>
            <pc:docMk/>
            <pc:sldMk cId="345129480" sldId="3199"/>
            <ac:spMk id="877" creationId="{62DB1BF7-5EB5-4EC3-B6FD-7CA94B27C088}"/>
          </ac:spMkLst>
        </pc:spChg>
        <pc:spChg chg="mod ord topLvl">
          <ac:chgData name="Kaan Aydin" userId="806ac4fb-eee5-4f85-962b-93e58f7d516c" providerId="ADAL" clId="{D060BC77-27F7-4805-9C05-418EFAFAD8FA}" dt="2023-05-19T21:48:09.104" v="21627" actId="2711"/>
          <ac:spMkLst>
            <pc:docMk/>
            <pc:sldMk cId="345129480" sldId="3199"/>
            <ac:spMk id="878" creationId="{95B5EFF3-B737-4D18-AB6C-5CED67987A4C}"/>
          </ac:spMkLst>
        </pc:spChg>
        <pc:spChg chg="mod ord topLvl">
          <ac:chgData name="Kaan Aydin" userId="806ac4fb-eee5-4f85-962b-93e58f7d516c" providerId="ADAL" clId="{D060BC77-27F7-4805-9C05-418EFAFAD8FA}" dt="2023-05-19T21:48:09.104" v="21627" actId="2711"/>
          <ac:spMkLst>
            <pc:docMk/>
            <pc:sldMk cId="345129480" sldId="3199"/>
            <ac:spMk id="879" creationId="{28E04FFB-730D-47ED-ADBC-226253646DB3}"/>
          </ac:spMkLst>
        </pc:spChg>
        <pc:spChg chg="mod ord topLvl">
          <ac:chgData name="Kaan Aydin" userId="806ac4fb-eee5-4f85-962b-93e58f7d516c" providerId="ADAL" clId="{D060BC77-27F7-4805-9C05-418EFAFAD8FA}" dt="2023-05-19T21:48:09.104" v="21627" actId="2711"/>
          <ac:spMkLst>
            <pc:docMk/>
            <pc:sldMk cId="345129480" sldId="3199"/>
            <ac:spMk id="880" creationId="{AFAF8DD6-087E-4207-80F5-CB916F115DEB}"/>
          </ac:spMkLst>
        </pc:spChg>
        <pc:spChg chg="mod ord topLvl">
          <ac:chgData name="Kaan Aydin" userId="806ac4fb-eee5-4f85-962b-93e58f7d516c" providerId="ADAL" clId="{D060BC77-27F7-4805-9C05-418EFAFAD8FA}" dt="2023-05-19T21:48:09.104" v="21627" actId="2711"/>
          <ac:spMkLst>
            <pc:docMk/>
            <pc:sldMk cId="345129480" sldId="3199"/>
            <ac:spMk id="881" creationId="{75C32A74-4781-4B20-96F2-08A42F4B6A21}"/>
          </ac:spMkLst>
        </pc:spChg>
        <pc:spChg chg="add mod">
          <ac:chgData name="Kaan Aydin" userId="806ac4fb-eee5-4f85-962b-93e58f7d516c" providerId="ADAL" clId="{D060BC77-27F7-4805-9C05-418EFAFAD8FA}" dt="2023-05-19T21:48:09.104" v="21627" actId="2711"/>
          <ac:spMkLst>
            <pc:docMk/>
            <pc:sldMk cId="345129480" sldId="3199"/>
            <ac:spMk id="897" creationId="{B0F5CB0B-ED87-4975-B6A0-E72E5EA31618}"/>
          </ac:spMkLst>
        </pc:spChg>
        <pc:spChg chg="add mod ord">
          <ac:chgData name="Kaan Aydin" userId="806ac4fb-eee5-4f85-962b-93e58f7d516c" providerId="ADAL" clId="{D060BC77-27F7-4805-9C05-418EFAFAD8FA}" dt="2023-05-19T21:48:09.104" v="21627" actId="2711"/>
          <ac:spMkLst>
            <pc:docMk/>
            <pc:sldMk cId="345129480" sldId="3199"/>
            <ac:spMk id="899" creationId="{44B82078-D285-4167-AA0A-96E18F393AC0}"/>
          </ac:spMkLst>
        </pc:spChg>
        <pc:spChg chg="add del mod">
          <ac:chgData name="Kaan Aydin" userId="806ac4fb-eee5-4f85-962b-93e58f7d516c" providerId="ADAL" clId="{D060BC77-27F7-4805-9C05-418EFAFAD8FA}" dt="2023-05-19T21:25:13.082" v="18662"/>
          <ac:spMkLst>
            <pc:docMk/>
            <pc:sldMk cId="345129480" sldId="3199"/>
            <ac:spMk id="900" creationId="{1BFFF140-E872-456C-B064-AC53E15F2BB7}"/>
          </ac:spMkLst>
        </pc:spChg>
        <pc:spChg chg="add del mod">
          <ac:chgData name="Kaan Aydin" userId="806ac4fb-eee5-4f85-962b-93e58f7d516c" providerId="ADAL" clId="{D060BC77-27F7-4805-9C05-418EFAFAD8FA}" dt="2023-05-19T21:25:18.116" v="18978"/>
          <ac:spMkLst>
            <pc:docMk/>
            <pc:sldMk cId="345129480" sldId="3199"/>
            <ac:spMk id="901" creationId="{E6E89C89-F6D6-4C6B-8A90-1AA5A40D90FA}"/>
          </ac:spMkLst>
        </pc:spChg>
        <pc:spChg chg="add del mod">
          <ac:chgData name="Kaan Aydin" userId="806ac4fb-eee5-4f85-962b-93e58f7d516c" providerId="ADAL" clId="{D060BC77-27F7-4805-9C05-418EFAFAD8FA}" dt="2023-05-19T21:25:22.577" v="20219"/>
          <ac:spMkLst>
            <pc:docMk/>
            <pc:sldMk cId="345129480" sldId="3199"/>
            <ac:spMk id="902" creationId="{922A900F-8E01-4A52-84C9-53B95C6097D8}"/>
          </ac:spMkLst>
        </pc:spChg>
        <pc:spChg chg="add del mod ord">
          <ac:chgData name="Kaan Aydin" userId="806ac4fb-eee5-4f85-962b-93e58f7d516c" providerId="ADAL" clId="{D060BC77-27F7-4805-9C05-418EFAFAD8FA}" dt="2023-05-19T21:25:23.829" v="20320"/>
          <ac:spMkLst>
            <pc:docMk/>
            <pc:sldMk cId="345129480" sldId="3199"/>
            <ac:spMk id="903" creationId="{5E84C629-8517-4CB0-B2AF-42DA54AC357C}"/>
          </ac:spMkLst>
        </pc:spChg>
        <pc:spChg chg="add del mod ord">
          <ac:chgData name="Kaan Aydin" userId="806ac4fb-eee5-4f85-962b-93e58f7d516c" providerId="ADAL" clId="{D060BC77-27F7-4805-9C05-418EFAFAD8FA}" dt="2023-05-19T21:25:23.830" v="20322"/>
          <ac:spMkLst>
            <pc:docMk/>
            <pc:sldMk cId="345129480" sldId="3199"/>
            <ac:spMk id="904" creationId="{4427B8AA-07BD-4C55-B346-8ECAC2E2F1DD}"/>
          </ac:spMkLst>
        </pc:spChg>
        <pc:spChg chg="add del mod ord">
          <ac:chgData name="Kaan Aydin" userId="806ac4fb-eee5-4f85-962b-93e58f7d516c" providerId="ADAL" clId="{D060BC77-27F7-4805-9C05-418EFAFAD8FA}" dt="2023-05-19T21:25:23.831" v="20324"/>
          <ac:spMkLst>
            <pc:docMk/>
            <pc:sldMk cId="345129480" sldId="3199"/>
            <ac:spMk id="905" creationId="{DC11B13D-C963-4008-AE0C-DFA916E7B70F}"/>
          </ac:spMkLst>
        </pc:spChg>
        <pc:spChg chg="add del mod ord">
          <ac:chgData name="Kaan Aydin" userId="806ac4fb-eee5-4f85-962b-93e58f7d516c" providerId="ADAL" clId="{D060BC77-27F7-4805-9C05-418EFAFAD8FA}" dt="2023-05-19T21:25:23.831" v="20326"/>
          <ac:spMkLst>
            <pc:docMk/>
            <pc:sldMk cId="345129480" sldId="3199"/>
            <ac:spMk id="906" creationId="{33C02FCE-5ACD-45B5-97CB-DCF78C8A1DAF}"/>
          </ac:spMkLst>
        </pc:spChg>
        <pc:spChg chg="add del mod ord">
          <ac:chgData name="Kaan Aydin" userId="806ac4fb-eee5-4f85-962b-93e58f7d516c" providerId="ADAL" clId="{D060BC77-27F7-4805-9C05-418EFAFAD8FA}" dt="2023-05-19T21:25:23.832" v="20328"/>
          <ac:spMkLst>
            <pc:docMk/>
            <pc:sldMk cId="345129480" sldId="3199"/>
            <ac:spMk id="907" creationId="{C4920679-7D01-4B35-96F9-99F117CD0E2D}"/>
          </ac:spMkLst>
        </pc:spChg>
        <pc:spChg chg="add del mod ord">
          <ac:chgData name="Kaan Aydin" userId="806ac4fb-eee5-4f85-962b-93e58f7d516c" providerId="ADAL" clId="{D060BC77-27F7-4805-9C05-418EFAFAD8FA}" dt="2023-05-19T21:25:23.832" v="20330"/>
          <ac:spMkLst>
            <pc:docMk/>
            <pc:sldMk cId="345129480" sldId="3199"/>
            <ac:spMk id="908" creationId="{AD2B955D-A48D-4465-9261-2210887EF445}"/>
          </ac:spMkLst>
        </pc:spChg>
        <pc:spChg chg="add del mod ord">
          <ac:chgData name="Kaan Aydin" userId="806ac4fb-eee5-4f85-962b-93e58f7d516c" providerId="ADAL" clId="{D060BC77-27F7-4805-9C05-418EFAFAD8FA}" dt="2023-05-19T21:25:23.833" v="20332"/>
          <ac:spMkLst>
            <pc:docMk/>
            <pc:sldMk cId="345129480" sldId="3199"/>
            <ac:spMk id="909" creationId="{FCC8CCED-26D2-4A93-B0A5-61E751E08B29}"/>
          </ac:spMkLst>
        </pc:spChg>
        <pc:spChg chg="add del mod ord">
          <ac:chgData name="Kaan Aydin" userId="806ac4fb-eee5-4f85-962b-93e58f7d516c" providerId="ADAL" clId="{D060BC77-27F7-4805-9C05-418EFAFAD8FA}" dt="2023-05-19T21:25:23.833" v="20334"/>
          <ac:spMkLst>
            <pc:docMk/>
            <pc:sldMk cId="345129480" sldId="3199"/>
            <ac:spMk id="910" creationId="{B669218C-3F62-4EDF-BD05-36C6C76130E9}"/>
          </ac:spMkLst>
        </pc:spChg>
        <pc:spChg chg="add del mod ord">
          <ac:chgData name="Kaan Aydin" userId="806ac4fb-eee5-4f85-962b-93e58f7d516c" providerId="ADAL" clId="{D060BC77-27F7-4805-9C05-418EFAFAD8FA}" dt="2023-05-19T21:25:23.834" v="20336"/>
          <ac:spMkLst>
            <pc:docMk/>
            <pc:sldMk cId="345129480" sldId="3199"/>
            <ac:spMk id="911" creationId="{F63CA345-B020-4D32-9732-268790FD4E35}"/>
          </ac:spMkLst>
        </pc:spChg>
        <pc:spChg chg="add del mod ord">
          <ac:chgData name="Kaan Aydin" userId="806ac4fb-eee5-4f85-962b-93e58f7d516c" providerId="ADAL" clId="{D060BC77-27F7-4805-9C05-418EFAFAD8FA}" dt="2023-05-19T21:25:23.835" v="20338"/>
          <ac:spMkLst>
            <pc:docMk/>
            <pc:sldMk cId="345129480" sldId="3199"/>
            <ac:spMk id="912" creationId="{DC6E6EE5-ACD0-46A4-A3C0-5D0530A7A358}"/>
          </ac:spMkLst>
        </pc:spChg>
        <pc:spChg chg="add del mod ord">
          <ac:chgData name="Kaan Aydin" userId="806ac4fb-eee5-4f85-962b-93e58f7d516c" providerId="ADAL" clId="{D060BC77-27F7-4805-9C05-418EFAFAD8FA}" dt="2023-05-19T21:25:23.835" v="20340"/>
          <ac:spMkLst>
            <pc:docMk/>
            <pc:sldMk cId="345129480" sldId="3199"/>
            <ac:spMk id="913" creationId="{BAD13C03-265A-4174-A443-7B9B29DD0930}"/>
          </ac:spMkLst>
        </pc:spChg>
        <pc:spChg chg="add del mod ord">
          <ac:chgData name="Kaan Aydin" userId="806ac4fb-eee5-4f85-962b-93e58f7d516c" providerId="ADAL" clId="{D060BC77-27F7-4805-9C05-418EFAFAD8FA}" dt="2023-05-19T21:25:23.836" v="20342"/>
          <ac:spMkLst>
            <pc:docMk/>
            <pc:sldMk cId="345129480" sldId="3199"/>
            <ac:spMk id="914" creationId="{8D35F780-9952-4CB7-B9DA-14C596631676}"/>
          </ac:spMkLst>
        </pc:spChg>
        <pc:spChg chg="add del mod ord">
          <ac:chgData name="Kaan Aydin" userId="806ac4fb-eee5-4f85-962b-93e58f7d516c" providerId="ADAL" clId="{D060BC77-27F7-4805-9C05-418EFAFAD8FA}" dt="2023-05-19T21:25:23.837" v="20344"/>
          <ac:spMkLst>
            <pc:docMk/>
            <pc:sldMk cId="345129480" sldId="3199"/>
            <ac:spMk id="915" creationId="{64BDDF90-D201-493B-8A73-0BEDB2DBD5A7}"/>
          </ac:spMkLst>
        </pc:spChg>
        <pc:spChg chg="add del mod ord">
          <ac:chgData name="Kaan Aydin" userId="806ac4fb-eee5-4f85-962b-93e58f7d516c" providerId="ADAL" clId="{D060BC77-27F7-4805-9C05-418EFAFAD8FA}" dt="2023-05-19T21:25:23.838" v="20346"/>
          <ac:spMkLst>
            <pc:docMk/>
            <pc:sldMk cId="345129480" sldId="3199"/>
            <ac:spMk id="916" creationId="{592DAB5F-0160-4CC9-AD8B-E03D85FB6107}"/>
          </ac:spMkLst>
        </pc:spChg>
        <pc:spChg chg="add del mod ord">
          <ac:chgData name="Kaan Aydin" userId="806ac4fb-eee5-4f85-962b-93e58f7d516c" providerId="ADAL" clId="{D060BC77-27F7-4805-9C05-418EFAFAD8FA}" dt="2023-05-19T21:25:23.839" v="20348"/>
          <ac:spMkLst>
            <pc:docMk/>
            <pc:sldMk cId="345129480" sldId="3199"/>
            <ac:spMk id="917" creationId="{7C44675C-D039-4CCB-B0EA-3A3C47125D31}"/>
          </ac:spMkLst>
        </pc:spChg>
        <pc:spChg chg="add del mod ord">
          <ac:chgData name="Kaan Aydin" userId="806ac4fb-eee5-4f85-962b-93e58f7d516c" providerId="ADAL" clId="{D060BC77-27F7-4805-9C05-418EFAFAD8FA}" dt="2023-05-19T21:25:23.840" v="20350"/>
          <ac:spMkLst>
            <pc:docMk/>
            <pc:sldMk cId="345129480" sldId="3199"/>
            <ac:spMk id="918" creationId="{AC917C9B-4309-4831-8570-709A1E42205E}"/>
          </ac:spMkLst>
        </pc:spChg>
        <pc:spChg chg="add del mod ord">
          <ac:chgData name="Kaan Aydin" userId="806ac4fb-eee5-4f85-962b-93e58f7d516c" providerId="ADAL" clId="{D060BC77-27F7-4805-9C05-418EFAFAD8FA}" dt="2023-05-19T21:25:23.840" v="20352"/>
          <ac:spMkLst>
            <pc:docMk/>
            <pc:sldMk cId="345129480" sldId="3199"/>
            <ac:spMk id="919" creationId="{394FEE88-8C39-46E0-81F2-3D386613986D}"/>
          </ac:spMkLst>
        </pc:spChg>
        <pc:spChg chg="add del mod ord">
          <ac:chgData name="Kaan Aydin" userId="806ac4fb-eee5-4f85-962b-93e58f7d516c" providerId="ADAL" clId="{D060BC77-27F7-4805-9C05-418EFAFAD8FA}" dt="2023-05-19T21:25:23.841" v="20354"/>
          <ac:spMkLst>
            <pc:docMk/>
            <pc:sldMk cId="345129480" sldId="3199"/>
            <ac:spMk id="920" creationId="{1C2C4B02-1935-4548-9549-9E66A3655CB7}"/>
          </ac:spMkLst>
        </pc:spChg>
        <pc:spChg chg="add del mod ord">
          <ac:chgData name="Kaan Aydin" userId="806ac4fb-eee5-4f85-962b-93e58f7d516c" providerId="ADAL" clId="{D060BC77-27F7-4805-9C05-418EFAFAD8FA}" dt="2023-05-19T21:25:23.843" v="20356"/>
          <ac:spMkLst>
            <pc:docMk/>
            <pc:sldMk cId="345129480" sldId="3199"/>
            <ac:spMk id="921" creationId="{6B3978B9-11DA-4B49-AFF5-9EEBDB23BBB5}"/>
          </ac:spMkLst>
        </pc:spChg>
        <pc:spChg chg="add del mod ord">
          <ac:chgData name="Kaan Aydin" userId="806ac4fb-eee5-4f85-962b-93e58f7d516c" providerId="ADAL" clId="{D060BC77-27F7-4805-9C05-418EFAFAD8FA}" dt="2023-05-19T21:25:23.844" v="20358"/>
          <ac:spMkLst>
            <pc:docMk/>
            <pc:sldMk cId="345129480" sldId="3199"/>
            <ac:spMk id="922" creationId="{29663C87-E09A-4AA1-B7C3-5D1D2589917A}"/>
          </ac:spMkLst>
        </pc:spChg>
        <pc:spChg chg="add del mod ord">
          <ac:chgData name="Kaan Aydin" userId="806ac4fb-eee5-4f85-962b-93e58f7d516c" providerId="ADAL" clId="{D060BC77-27F7-4805-9C05-418EFAFAD8FA}" dt="2023-05-19T21:25:23.845" v="20360"/>
          <ac:spMkLst>
            <pc:docMk/>
            <pc:sldMk cId="345129480" sldId="3199"/>
            <ac:spMk id="923" creationId="{C29CC85A-30D8-4051-AA95-6E750E03D56F}"/>
          </ac:spMkLst>
        </pc:spChg>
        <pc:spChg chg="add del mod">
          <ac:chgData name="Kaan Aydin" userId="806ac4fb-eee5-4f85-962b-93e58f7d516c" providerId="ADAL" clId="{D060BC77-27F7-4805-9C05-418EFAFAD8FA}" dt="2023-05-19T21:25:23.937" v="20477"/>
          <ac:spMkLst>
            <pc:docMk/>
            <pc:sldMk cId="345129480" sldId="3199"/>
            <ac:spMk id="924" creationId="{F0C8CD51-0A74-4B9B-9204-817DADB88172}"/>
          </ac:spMkLst>
        </pc:spChg>
        <pc:spChg chg="add del mod">
          <ac:chgData name="Kaan Aydin" userId="806ac4fb-eee5-4f85-962b-93e58f7d516c" providerId="ADAL" clId="{D060BC77-27F7-4805-9C05-418EFAFAD8FA}" dt="2023-05-19T21:25:31.779" v="20714"/>
          <ac:spMkLst>
            <pc:docMk/>
            <pc:sldMk cId="345129480" sldId="3199"/>
            <ac:spMk id="925" creationId="{DD6A4644-436D-4B26-862B-F8328E3DBFE8}"/>
          </ac:spMkLst>
        </pc:spChg>
        <pc:spChg chg="add del mod">
          <ac:chgData name="Kaan Aydin" userId="806ac4fb-eee5-4f85-962b-93e58f7d516c" providerId="ADAL" clId="{D060BC77-27F7-4805-9C05-418EFAFAD8FA}" dt="2023-05-19T21:48:09.041" v="21624"/>
          <ac:spMkLst>
            <pc:docMk/>
            <pc:sldMk cId="345129480" sldId="3199"/>
            <ac:spMk id="926" creationId="{8A8779CA-360D-41A7-B0CA-6B439A0E6574}"/>
          </ac:spMkLst>
        </pc:spChg>
        <pc:spChg chg="mod ord">
          <ac:chgData name="Kaan Aydin" userId="806ac4fb-eee5-4f85-962b-93e58f7d516c" providerId="ADAL" clId="{D060BC77-27F7-4805-9C05-418EFAFAD8FA}" dt="2023-05-19T21:48:09.029" v="21542"/>
          <ac:spMkLst>
            <pc:docMk/>
            <pc:sldMk cId="345129480" sldId="3199"/>
            <ac:spMk id="931" creationId="{65CD297A-E7F5-4158-B972-AEA4F1288EE2}"/>
          </ac:spMkLst>
        </pc:spChg>
        <pc:spChg chg="mod ord">
          <ac:chgData name="Kaan Aydin" userId="806ac4fb-eee5-4f85-962b-93e58f7d516c" providerId="ADAL" clId="{D060BC77-27F7-4805-9C05-418EFAFAD8FA}" dt="2023-05-19T21:48:09.029" v="21544"/>
          <ac:spMkLst>
            <pc:docMk/>
            <pc:sldMk cId="345129480" sldId="3199"/>
            <ac:spMk id="932" creationId="{712FD030-484F-43AA-BFD8-A745FAD71CCE}"/>
          </ac:spMkLst>
        </pc:spChg>
        <pc:spChg chg="mod ord">
          <ac:chgData name="Kaan Aydin" userId="806ac4fb-eee5-4f85-962b-93e58f7d516c" providerId="ADAL" clId="{D060BC77-27F7-4805-9C05-418EFAFAD8FA}" dt="2023-05-19T21:48:09.030" v="21546"/>
          <ac:spMkLst>
            <pc:docMk/>
            <pc:sldMk cId="345129480" sldId="3199"/>
            <ac:spMk id="933" creationId="{5DB604B5-50DA-4197-9B9B-85A38286CB0C}"/>
          </ac:spMkLst>
        </pc:spChg>
        <pc:spChg chg="mod ord">
          <ac:chgData name="Kaan Aydin" userId="806ac4fb-eee5-4f85-962b-93e58f7d516c" providerId="ADAL" clId="{D060BC77-27F7-4805-9C05-418EFAFAD8FA}" dt="2023-05-19T21:48:09.030" v="21548"/>
          <ac:spMkLst>
            <pc:docMk/>
            <pc:sldMk cId="345129480" sldId="3199"/>
            <ac:spMk id="934" creationId="{6B4E66A1-759A-4499-A59D-09AC000DCFF2}"/>
          </ac:spMkLst>
        </pc:spChg>
        <pc:spChg chg="mod ord">
          <ac:chgData name="Kaan Aydin" userId="806ac4fb-eee5-4f85-962b-93e58f7d516c" providerId="ADAL" clId="{D060BC77-27F7-4805-9C05-418EFAFAD8FA}" dt="2023-05-19T21:48:09.030" v="21550"/>
          <ac:spMkLst>
            <pc:docMk/>
            <pc:sldMk cId="345129480" sldId="3199"/>
            <ac:spMk id="935" creationId="{F5EFCAE2-212D-4DFB-9B9F-3C5872C7066B}"/>
          </ac:spMkLst>
        </pc:spChg>
        <pc:spChg chg="mod ord">
          <ac:chgData name="Kaan Aydin" userId="806ac4fb-eee5-4f85-962b-93e58f7d516c" providerId="ADAL" clId="{D060BC77-27F7-4805-9C05-418EFAFAD8FA}" dt="2023-05-19T21:48:09.031" v="21552"/>
          <ac:spMkLst>
            <pc:docMk/>
            <pc:sldMk cId="345129480" sldId="3199"/>
            <ac:spMk id="936" creationId="{957F6BC9-01A0-4391-8EAD-5248A6AA08B2}"/>
          </ac:spMkLst>
        </pc:spChg>
        <pc:spChg chg="mod ord">
          <ac:chgData name="Kaan Aydin" userId="806ac4fb-eee5-4f85-962b-93e58f7d516c" providerId="ADAL" clId="{D060BC77-27F7-4805-9C05-418EFAFAD8FA}" dt="2023-05-19T21:48:09.031" v="21554"/>
          <ac:spMkLst>
            <pc:docMk/>
            <pc:sldMk cId="345129480" sldId="3199"/>
            <ac:spMk id="937" creationId="{66267D31-5C0A-4E86-8B8B-A6D1749228EC}"/>
          </ac:spMkLst>
        </pc:spChg>
        <pc:spChg chg="mod ord">
          <ac:chgData name="Kaan Aydin" userId="806ac4fb-eee5-4f85-962b-93e58f7d516c" providerId="ADAL" clId="{D060BC77-27F7-4805-9C05-418EFAFAD8FA}" dt="2023-05-19T21:48:09.032" v="21556"/>
          <ac:spMkLst>
            <pc:docMk/>
            <pc:sldMk cId="345129480" sldId="3199"/>
            <ac:spMk id="938" creationId="{4B963944-CB6C-463E-8274-4D52597F04C9}"/>
          </ac:spMkLst>
        </pc:spChg>
        <pc:spChg chg="mod ord">
          <ac:chgData name="Kaan Aydin" userId="806ac4fb-eee5-4f85-962b-93e58f7d516c" providerId="ADAL" clId="{D060BC77-27F7-4805-9C05-418EFAFAD8FA}" dt="2023-05-19T21:48:09.032" v="21558"/>
          <ac:spMkLst>
            <pc:docMk/>
            <pc:sldMk cId="345129480" sldId="3199"/>
            <ac:spMk id="939" creationId="{4A48DB5B-C5DE-4EB4-A941-76D417A94B8F}"/>
          </ac:spMkLst>
        </pc:spChg>
        <pc:spChg chg="mod ord">
          <ac:chgData name="Kaan Aydin" userId="806ac4fb-eee5-4f85-962b-93e58f7d516c" providerId="ADAL" clId="{D060BC77-27F7-4805-9C05-418EFAFAD8FA}" dt="2023-05-19T21:48:09.032" v="21560"/>
          <ac:spMkLst>
            <pc:docMk/>
            <pc:sldMk cId="345129480" sldId="3199"/>
            <ac:spMk id="940" creationId="{66F916F5-041B-4476-8DAE-F01515690AEB}"/>
          </ac:spMkLst>
        </pc:spChg>
        <pc:spChg chg="mod ord">
          <ac:chgData name="Kaan Aydin" userId="806ac4fb-eee5-4f85-962b-93e58f7d516c" providerId="ADAL" clId="{D060BC77-27F7-4805-9C05-418EFAFAD8FA}" dt="2023-05-19T21:48:09.032" v="21562"/>
          <ac:spMkLst>
            <pc:docMk/>
            <pc:sldMk cId="345129480" sldId="3199"/>
            <ac:spMk id="941" creationId="{E98C1F52-08D1-4795-AE9E-718E263C390F}"/>
          </ac:spMkLst>
        </pc:spChg>
        <pc:spChg chg="del">
          <ac:chgData name="Kaan Aydin" userId="806ac4fb-eee5-4f85-962b-93e58f7d516c" providerId="ADAL" clId="{D060BC77-27F7-4805-9C05-418EFAFAD8FA}" dt="2023-05-19T00:20:07.558" v="4061"/>
          <ac:spMkLst>
            <pc:docMk/>
            <pc:sldMk cId="345129480" sldId="3199"/>
            <ac:spMk id="942" creationId="{3F850305-27FC-4615-BBFF-477FA6D10C4A}"/>
          </ac:spMkLst>
        </pc:spChg>
        <pc:spChg chg="del">
          <ac:chgData name="Kaan Aydin" userId="806ac4fb-eee5-4f85-962b-93e58f7d516c" providerId="ADAL" clId="{D060BC77-27F7-4805-9C05-418EFAFAD8FA}" dt="2023-05-19T00:20:07.557" v="4057"/>
          <ac:spMkLst>
            <pc:docMk/>
            <pc:sldMk cId="345129480" sldId="3199"/>
            <ac:spMk id="943" creationId="{8176E323-E211-4A32-933F-FEF6A9C88210}"/>
          </ac:spMkLst>
        </pc:spChg>
        <pc:spChg chg="del">
          <ac:chgData name="Kaan Aydin" userId="806ac4fb-eee5-4f85-962b-93e58f7d516c" providerId="ADAL" clId="{D060BC77-27F7-4805-9C05-418EFAFAD8FA}" dt="2023-05-19T00:20:07.557" v="4053"/>
          <ac:spMkLst>
            <pc:docMk/>
            <pc:sldMk cId="345129480" sldId="3199"/>
            <ac:spMk id="944" creationId="{883DB73C-EE7C-4E13-9ED4-3C830CE61757}"/>
          </ac:spMkLst>
        </pc:spChg>
        <pc:spChg chg="mod">
          <ac:chgData name="Kaan Aydin" userId="806ac4fb-eee5-4f85-962b-93e58f7d516c" providerId="ADAL" clId="{D060BC77-27F7-4805-9C05-418EFAFAD8FA}" dt="2023-05-19T21:48:09.104" v="21627" actId="2711"/>
          <ac:spMkLst>
            <pc:docMk/>
            <pc:sldMk cId="345129480" sldId="3199"/>
            <ac:spMk id="1011" creationId="{4470C5C1-B2A5-4F7F-8DEC-FBBE7993ADB9}"/>
          </ac:spMkLst>
        </pc:spChg>
        <pc:spChg chg="mod">
          <ac:chgData name="Kaan Aydin" userId="806ac4fb-eee5-4f85-962b-93e58f7d516c" providerId="ADAL" clId="{D060BC77-27F7-4805-9C05-418EFAFAD8FA}" dt="2023-05-19T21:48:09.104" v="21627" actId="2711"/>
          <ac:spMkLst>
            <pc:docMk/>
            <pc:sldMk cId="345129480" sldId="3199"/>
            <ac:spMk id="1012" creationId="{A3181254-7DC4-42F8-9799-18764CBEE3A7}"/>
          </ac:spMkLst>
        </pc:spChg>
        <pc:spChg chg="mod ord">
          <ac:chgData name="Kaan Aydin" userId="806ac4fb-eee5-4f85-962b-93e58f7d516c" providerId="ADAL" clId="{D060BC77-27F7-4805-9C05-418EFAFAD8FA}" dt="2023-05-19T21:48:09.104" v="21627" actId="2711"/>
          <ac:spMkLst>
            <pc:docMk/>
            <pc:sldMk cId="345129480" sldId="3199"/>
            <ac:spMk id="1018" creationId="{2850A1DB-0C30-4F8F-B024-66B5921F1D94}"/>
          </ac:spMkLst>
        </pc:spChg>
        <pc:grpChg chg="add mod ord topLvl">
          <ac:chgData name="Kaan Aydin" userId="806ac4fb-eee5-4f85-962b-93e58f7d516c" providerId="ADAL" clId="{D060BC77-27F7-4805-9C05-418EFAFAD8FA}" dt="2023-05-19T21:48:09.037" v="21596"/>
          <ac:grpSpMkLst>
            <pc:docMk/>
            <pc:sldMk cId="345129480" sldId="3199"/>
            <ac:grpSpMk id="47" creationId="{1B2AA6DF-EC7C-4FAE-A513-79C559B24BFD}"/>
          </ac:grpSpMkLst>
        </pc:grpChg>
        <pc:grpChg chg="add mod ord topLvl">
          <ac:chgData name="Kaan Aydin" userId="806ac4fb-eee5-4f85-962b-93e58f7d516c" providerId="ADAL" clId="{D060BC77-27F7-4805-9C05-418EFAFAD8FA}" dt="2023-05-19T21:48:09.037" v="21598"/>
          <ac:grpSpMkLst>
            <pc:docMk/>
            <pc:sldMk cId="345129480" sldId="3199"/>
            <ac:grpSpMk id="48" creationId="{92AF03A0-1C67-4CCD-BA03-0F2505D4922E}"/>
          </ac:grpSpMkLst>
        </pc:grpChg>
        <pc:grpChg chg="add mod ord topLvl">
          <ac:chgData name="Kaan Aydin" userId="806ac4fb-eee5-4f85-962b-93e58f7d516c" providerId="ADAL" clId="{D060BC77-27F7-4805-9C05-418EFAFAD8FA}" dt="2023-05-19T21:48:09.037" v="21600"/>
          <ac:grpSpMkLst>
            <pc:docMk/>
            <pc:sldMk cId="345129480" sldId="3199"/>
            <ac:grpSpMk id="49" creationId="{BB912ED9-F03D-4B67-83FE-DBA338DA2B7A}"/>
          </ac:grpSpMkLst>
        </pc:grpChg>
        <pc:grpChg chg="add mod ord topLvl">
          <ac:chgData name="Kaan Aydin" userId="806ac4fb-eee5-4f85-962b-93e58f7d516c" providerId="ADAL" clId="{D060BC77-27F7-4805-9C05-418EFAFAD8FA}" dt="2023-05-19T21:48:09.037" v="21602"/>
          <ac:grpSpMkLst>
            <pc:docMk/>
            <pc:sldMk cId="345129480" sldId="3199"/>
            <ac:grpSpMk id="50" creationId="{8528583A-DD3C-4DF2-9BBC-F3ADA4EAC2FB}"/>
          </ac:grpSpMkLst>
        </pc:grpChg>
        <pc:grpChg chg="add del mod">
          <ac:chgData name="Kaan Aydin" userId="806ac4fb-eee5-4f85-962b-93e58f7d516c" providerId="ADAL" clId="{D060BC77-27F7-4805-9C05-418EFAFAD8FA}" dt="2023-05-19T21:08:45.207" v="17887" actId="165"/>
          <ac:grpSpMkLst>
            <pc:docMk/>
            <pc:sldMk cId="345129480" sldId="3199"/>
            <ac:grpSpMk id="51" creationId="{729F5FFF-F493-4DE2-A917-96CB5E40A803}"/>
          </ac:grpSpMkLst>
        </pc:grpChg>
        <pc:grpChg chg="add del mod">
          <ac:chgData name="Kaan Aydin" userId="806ac4fb-eee5-4f85-962b-93e58f7d516c" providerId="ADAL" clId="{D060BC77-27F7-4805-9C05-418EFAFAD8FA}" dt="2023-05-19T21:09:14.154" v="17900" actId="165"/>
          <ac:grpSpMkLst>
            <pc:docMk/>
            <pc:sldMk cId="345129480" sldId="3199"/>
            <ac:grpSpMk id="52" creationId="{EA50B408-F66A-418C-BE46-75728D96BB56}"/>
          </ac:grpSpMkLst>
        </pc:grpChg>
        <pc:grpChg chg="add del mod">
          <ac:chgData name="Kaan Aydin" userId="806ac4fb-eee5-4f85-962b-93e58f7d516c" providerId="ADAL" clId="{D060BC77-27F7-4805-9C05-418EFAFAD8FA}" dt="2023-05-19T21:09:15.755" v="17901" actId="165"/>
          <ac:grpSpMkLst>
            <pc:docMk/>
            <pc:sldMk cId="345129480" sldId="3199"/>
            <ac:grpSpMk id="53" creationId="{6C9E890E-F9A8-4569-8EE0-AA0050163949}"/>
          </ac:grpSpMkLst>
        </pc:grpChg>
        <pc:grpChg chg="add del mod">
          <ac:chgData name="Kaan Aydin" userId="806ac4fb-eee5-4f85-962b-93e58f7d516c" providerId="ADAL" clId="{D060BC77-27F7-4805-9C05-418EFAFAD8FA}" dt="2023-05-19T21:09:16.862" v="17902" actId="165"/>
          <ac:grpSpMkLst>
            <pc:docMk/>
            <pc:sldMk cId="345129480" sldId="3199"/>
            <ac:grpSpMk id="54" creationId="{862D7381-1904-4124-9540-9AE5095C58E1}"/>
          </ac:grpSpMkLst>
        </pc:grpChg>
        <pc:grpChg chg="add del mod">
          <ac:chgData name="Kaan Aydin" userId="806ac4fb-eee5-4f85-962b-93e58f7d516c" providerId="ADAL" clId="{D060BC77-27F7-4805-9C05-418EFAFAD8FA}" dt="2023-05-19T21:18:27.933" v="18091" actId="165"/>
          <ac:grpSpMkLst>
            <pc:docMk/>
            <pc:sldMk cId="345129480" sldId="3199"/>
            <ac:grpSpMk id="56" creationId="{8A565756-2FFD-4366-A08C-8A835C552AEE}"/>
          </ac:grpSpMkLst>
        </pc:grpChg>
        <pc:grpChg chg="add del mod ord">
          <ac:chgData name="Kaan Aydin" userId="806ac4fb-eee5-4f85-962b-93e58f7d516c" providerId="ADAL" clId="{D060BC77-27F7-4805-9C05-418EFAFAD8FA}" dt="2023-05-19T21:19:46.942" v="18240" actId="165"/>
          <ac:grpSpMkLst>
            <pc:docMk/>
            <pc:sldMk cId="345129480" sldId="3199"/>
            <ac:grpSpMk id="57" creationId="{E9B85FDB-895E-4CB1-A57B-3341CDD887C8}"/>
          </ac:grpSpMkLst>
        </pc:grpChg>
        <pc:grpChg chg="add del mod ord">
          <ac:chgData name="Kaan Aydin" userId="806ac4fb-eee5-4f85-962b-93e58f7d516c" providerId="ADAL" clId="{D060BC77-27F7-4805-9C05-418EFAFAD8FA}" dt="2023-05-19T21:20:09.507" v="18246" actId="165"/>
          <ac:grpSpMkLst>
            <pc:docMk/>
            <pc:sldMk cId="345129480" sldId="3199"/>
            <ac:grpSpMk id="58" creationId="{21787FF0-243F-4157-88F8-DD0B0A4DD217}"/>
          </ac:grpSpMkLst>
        </pc:grpChg>
        <pc:grpChg chg="add del mod ord">
          <ac:chgData name="Kaan Aydin" userId="806ac4fb-eee5-4f85-962b-93e58f7d516c" providerId="ADAL" clId="{D060BC77-27F7-4805-9C05-418EFAFAD8FA}" dt="2023-05-19T21:20:52.973" v="18279" actId="165"/>
          <ac:grpSpMkLst>
            <pc:docMk/>
            <pc:sldMk cId="345129480" sldId="3199"/>
            <ac:grpSpMk id="59" creationId="{7F0E2D7C-C332-4AFB-81B4-CA4FD49B630E}"/>
          </ac:grpSpMkLst>
        </pc:grpChg>
        <pc:grpChg chg="add mod ord">
          <ac:chgData name="Kaan Aydin" userId="806ac4fb-eee5-4f85-962b-93e58f7d516c" providerId="ADAL" clId="{D060BC77-27F7-4805-9C05-418EFAFAD8FA}" dt="2023-05-19T21:48:09.039" v="21612"/>
          <ac:grpSpMkLst>
            <pc:docMk/>
            <pc:sldMk cId="345129480" sldId="3199"/>
            <ac:grpSpMk id="61" creationId="{D6CE4BF4-7F75-474B-BD12-23801A1DEA79}"/>
          </ac:grpSpMkLst>
        </pc:grpChg>
        <pc:grpChg chg="add mod ord">
          <ac:chgData name="Kaan Aydin" userId="806ac4fb-eee5-4f85-962b-93e58f7d516c" providerId="ADAL" clId="{D060BC77-27F7-4805-9C05-418EFAFAD8FA}" dt="2023-05-19T21:48:09.039" v="21614"/>
          <ac:grpSpMkLst>
            <pc:docMk/>
            <pc:sldMk cId="345129480" sldId="3199"/>
            <ac:grpSpMk id="62" creationId="{E038121E-8F20-4414-BA33-36CD38BCDB1B}"/>
          </ac:grpSpMkLst>
        </pc:grpChg>
        <pc:grpChg chg="add mod">
          <ac:chgData name="Kaan Aydin" userId="806ac4fb-eee5-4f85-962b-93e58f7d516c" providerId="ADAL" clId="{D060BC77-27F7-4805-9C05-418EFAFAD8FA}" dt="2023-05-19T21:23:03.859" v="18296" actId="164"/>
          <ac:grpSpMkLst>
            <pc:docMk/>
            <pc:sldMk cId="345129480" sldId="3199"/>
            <ac:grpSpMk id="63" creationId="{6AFC33ED-4FDF-4545-A62A-DC8AA00EA20C}"/>
          </ac:grpSpMkLst>
        </pc:grpChg>
        <pc:grpChg chg="add mod ord">
          <ac:chgData name="Kaan Aydin" userId="806ac4fb-eee5-4f85-962b-93e58f7d516c" providerId="ADAL" clId="{D060BC77-27F7-4805-9C05-418EFAFAD8FA}" dt="2023-05-19T21:48:09.039" v="21616"/>
          <ac:grpSpMkLst>
            <pc:docMk/>
            <pc:sldMk cId="345129480" sldId="3199"/>
            <ac:grpSpMk id="896" creationId="{CA41A4A1-5EF8-447B-89AF-C492B3AAE10B}"/>
          </ac:grpSpMkLst>
        </pc:grpChg>
        <pc:grpChg chg="add mod ord">
          <ac:chgData name="Kaan Aydin" userId="806ac4fb-eee5-4f85-962b-93e58f7d516c" providerId="ADAL" clId="{D060BC77-27F7-4805-9C05-418EFAFAD8FA}" dt="2023-05-19T21:48:09.040" v="21618"/>
          <ac:grpSpMkLst>
            <pc:docMk/>
            <pc:sldMk cId="345129480" sldId="3199"/>
            <ac:grpSpMk id="898" creationId="{59673797-A475-4025-BD23-AD943EA14B58}"/>
          </ac:grpSpMkLst>
        </pc:grpChg>
        <pc:grpChg chg="mod ord">
          <ac:chgData name="Kaan Aydin" userId="806ac4fb-eee5-4f85-962b-93e58f7d516c" providerId="ADAL" clId="{D060BC77-27F7-4805-9C05-418EFAFAD8FA}" dt="2023-05-19T21:48:09.037" v="21594"/>
          <ac:grpSpMkLst>
            <pc:docMk/>
            <pc:sldMk cId="345129480" sldId="3199"/>
            <ac:grpSpMk id="1010" creationId="{1EC09FBC-066A-4A07-9AA0-1F6EDD0DFA21}"/>
          </ac:grpSpMkLst>
        </pc:grpChg>
        <pc:graphicFrameChg chg="mod">
          <ac:chgData name="Kaan Aydin" userId="806ac4fb-eee5-4f85-962b-93e58f7d516c" providerId="ADAL" clId="{D060BC77-27F7-4805-9C05-418EFAFAD8FA}" dt="2023-05-19T21:48:09.087" v="21626"/>
          <ac:graphicFrameMkLst>
            <pc:docMk/>
            <pc:sldMk cId="345129480" sldId="3199"/>
            <ac:graphicFrameMk id="7" creationId="{2AC15328-2884-4F93-8440-7422097A0412}"/>
          </ac:graphicFrameMkLst>
        </pc:graphicFrameChg>
        <pc:graphicFrameChg chg="add del mod">
          <ac:chgData name="Kaan Aydin" userId="806ac4fb-eee5-4f85-962b-93e58f7d516c" providerId="ADAL" clId="{D060BC77-27F7-4805-9C05-418EFAFAD8FA}" dt="2023-05-19T21:25:13.048" v="18546"/>
          <ac:graphicFrameMkLst>
            <pc:docMk/>
            <pc:sldMk cId="345129480" sldId="3199"/>
            <ac:graphicFrameMk id="67" creationId="{81661307-8FB3-429F-9550-0E41970B3E63}"/>
          </ac:graphicFrameMkLst>
        </pc:graphicFrameChg>
        <pc:graphicFrameChg chg="add del mod">
          <ac:chgData name="Kaan Aydin" userId="806ac4fb-eee5-4f85-962b-93e58f7d516c" providerId="ADAL" clId="{D060BC77-27F7-4805-9C05-418EFAFAD8FA}" dt="2023-05-19T01:07:28.844" v="8434"/>
          <ac:graphicFrameMkLst>
            <pc:docMk/>
            <pc:sldMk cId="345129480" sldId="3199"/>
            <ac:graphicFrameMk id="68" creationId="{B89D5422-A65C-42A9-AFBF-B38C612546D6}"/>
          </ac:graphicFrameMkLst>
        </pc:graphicFrameChg>
        <pc:graphicFrameChg chg="add del mod">
          <ac:chgData name="Kaan Aydin" userId="806ac4fb-eee5-4f85-962b-93e58f7d516c" providerId="ADAL" clId="{D060BC77-27F7-4805-9C05-418EFAFAD8FA}" dt="2023-05-19T20:54:07.150" v="9946"/>
          <ac:graphicFrameMkLst>
            <pc:docMk/>
            <pc:sldMk cId="345129480" sldId="3199"/>
            <ac:graphicFrameMk id="69" creationId="{F15C6050-737E-4973-B64B-18491F0B5C72}"/>
          </ac:graphicFrameMkLst>
        </pc:graphicFrameChg>
        <pc:graphicFrameChg chg="add del mod">
          <ac:chgData name="Kaan Aydin" userId="806ac4fb-eee5-4f85-962b-93e58f7d516c" providerId="ADAL" clId="{D060BC77-27F7-4805-9C05-418EFAFAD8FA}" dt="2023-05-19T20:54:03.312" v="9771"/>
          <ac:graphicFrameMkLst>
            <pc:docMk/>
            <pc:sldMk cId="345129480" sldId="3199"/>
            <ac:graphicFrameMk id="70" creationId="{E8B661EF-0266-4C9A-8F84-8C0DD4544B15}"/>
          </ac:graphicFrameMkLst>
        </pc:graphicFrameChg>
        <pc:graphicFrameChg chg="add del mod">
          <ac:chgData name="Kaan Aydin" userId="806ac4fb-eee5-4f85-962b-93e58f7d516c" providerId="ADAL" clId="{D060BC77-27F7-4805-9C05-418EFAFAD8FA}" dt="2023-05-19T20:53:49.023" v="9421"/>
          <ac:graphicFrameMkLst>
            <pc:docMk/>
            <pc:sldMk cId="345129480" sldId="3199"/>
            <ac:graphicFrameMk id="71" creationId="{8609871A-6D4A-4152-BF50-9AECDE242357}"/>
          </ac:graphicFrameMkLst>
        </pc:graphicFrameChg>
        <pc:graphicFrameChg chg="add del mod">
          <ac:chgData name="Kaan Aydin" userId="806ac4fb-eee5-4f85-962b-93e58f7d516c" providerId="ADAL" clId="{D060BC77-27F7-4805-9C05-418EFAFAD8FA}" dt="2023-05-19T20:53:42.815" v="9001"/>
          <ac:graphicFrameMkLst>
            <pc:docMk/>
            <pc:sldMk cId="345129480" sldId="3199"/>
            <ac:graphicFrameMk id="73" creationId="{437C7C19-7F22-4295-9FE6-57B77B9F45DC}"/>
          </ac:graphicFrameMkLst>
        </pc:graphicFrameChg>
        <pc:graphicFrameChg chg="add del mod">
          <ac:chgData name="Kaan Aydin" userId="806ac4fb-eee5-4f85-962b-93e58f7d516c" providerId="ADAL" clId="{D060BC77-27F7-4805-9C05-418EFAFAD8FA}" dt="2023-05-19T20:53:45.876" v="9246"/>
          <ac:graphicFrameMkLst>
            <pc:docMk/>
            <pc:sldMk cId="345129480" sldId="3199"/>
            <ac:graphicFrameMk id="74" creationId="{463056A9-F596-4A47-B53A-F583A25B84E8}"/>
          </ac:graphicFrameMkLst>
        </pc:graphicFrameChg>
        <pc:graphicFrameChg chg="add del mod">
          <ac:chgData name="Kaan Aydin" userId="806ac4fb-eee5-4f85-962b-93e58f7d516c" providerId="ADAL" clId="{D060BC77-27F7-4805-9C05-418EFAFAD8FA}" dt="2023-05-19T20:56:58.213" v="13028"/>
          <ac:graphicFrameMkLst>
            <pc:docMk/>
            <pc:sldMk cId="345129480" sldId="3199"/>
            <ac:graphicFrameMk id="78" creationId="{18478ED7-68B8-425D-8B8B-96519B40FB51}"/>
          </ac:graphicFrameMkLst>
        </pc:graphicFrameChg>
        <pc:graphicFrameChg chg="add del mod">
          <ac:chgData name="Kaan Aydin" userId="806ac4fb-eee5-4f85-962b-93e58f7d516c" providerId="ADAL" clId="{D060BC77-27F7-4805-9C05-418EFAFAD8FA}" dt="2023-05-19T20:53:58.866" v="9596"/>
          <ac:graphicFrameMkLst>
            <pc:docMk/>
            <pc:sldMk cId="345129480" sldId="3199"/>
            <ac:graphicFrameMk id="82" creationId="{F0A17576-8F02-4E81-B4D8-F0D3CE715A9E}"/>
          </ac:graphicFrameMkLst>
        </pc:graphicFrameChg>
        <pc:graphicFrameChg chg="add del mod">
          <ac:chgData name="Kaan Aydin" userId="806ac4fb-eee5-4f85-962b-93e58f7d516c" providerId="ADAL" clId="{D060BC77-27F7-4805-9C05-418EFAFAD8FA}" dt="2023-05-19T20:54:11.329" v="10191"/>
          <ac:graphicFrameMkLst>
            <pc:docMk/>
            <pc:sldMk cId="345129480" sldId="3199"/>
            <ac:graphicFrameMk id="83" creationId="{823F5CC8-CC2B-4C93-9199-3772E51777DA}"/>
          </ac:graphicFrameMkLst>
        </pc:graphicFrameChg>
        <pc:graphicFrameChg chg="add del mod">
          <ac:chgData name="Kaan Aydin" userId="806ac4fb-eee5-4f85-962b-93e58f7d516c" providerId="ADAL" clId="{D060BC77-27F7-4805-9C05-418EFAFAD8FA}" dt="2023-05-19T20:54:34.752" v="11514"/>
          <ac:graphicFrameMkLst>
            <pc:docMk/>
            <pc:sldMk cId="345129480" sldId="3199"/>
            <ac:graphicFrameMk id="84" creationId="{1E592C49-42D4-4DEC-B689-F19C5949975B}"/>
          </ac:graphicFrameMkLst>
        </pc:graphicFrameChg>
        <pc:graphicFrameChg chg="add del mod">
          <ac:chgData name="Kaan Aydin" userId="806ac4fb-eee5-4f85-962b-93e58f7d516c" providerId="ADAL" clId="{D060BC77-27F7-4805-9C05-418EFAFAD8FA}" dt="2023-05-19T20:57:11.601" v="13392"/>
          <ac:graphicFrameMkLst>
            <pc:docMk/>
            <pc:sldMk cId="345129480" sldId="3199"/>
            <ac:graphicFrameMk id="85" creationId="{92FFD52B-5BD4-491F-954A-B870FC0A76CE}"/>
          </ac:graphicFrameMkLst>
        </pc:graphicFrameChg>
        <pc:graphicFrameChg chg="add del mod">
          <ac:chgData name="Kaan Aydin" userId="806ac4fb-eee5-4f85-962b-93e58f7d516c" providerId="ADAL" clId="{D060BC77-27F7-4805-9C05-418EFAFAD8FA}" dt="2023-05-19T20:58:33.726" v="14788"/>
          <ac:graphicFrameMkLst>
            <pc:docMk/>
            <pc:sldMk cId="345129480" sldId="3199"/>
            <ac:graphicFrameMk id="86" creationId="{7C1812AC-366E-459D-BC10-33E56766784C}"/>
          </ac:graphicFrameMkLst>
        </pc:graphicFrameChg>
        <pc:graphicFrameChg chg="add del mod">
          <ac:chgData name="Kaan Aydin" userId="806ac4fb-eee5-4f85-962b-93e58f7d516c" providerId="ADAL" clId="{D060BC77-27F7-4805-9C05-418EFAFAD8FA}" dt="2023-05-19T20:54:26.470" v="11339"/>
          <ac:graphicFrameMkLst>
            <pc:docMk/>
            <pc:sldMk cId="345129480" sldId="3199"/>
            <ac:graphicFrameMk id="87" creationId="{9744BCDF-E3F2-4181-8631-6FCC8A107E29}"/>
          </ac:graphicFrameMkLst>
        </pc:graphicFrameChg>
        <pc:graphicFrameChg chg="add mod">
          <ac:chgData name="Kaan Aydin" userId="806ac4fb-eee5-4f85-962b-93e58f7d516c" providerId="ADAL" clId="{D060BC77-27F7-4805-9C05-418EFAFAD8FA}" dt="2023-05-19T20:54:19.281" v="11199"/>
          <ac:graphicFrameMkLst>
            <pc:docMk/>
            <pc:sldMk cId="345129480" sldId="3199"/>
            <ac:graphicFrameMk id="88" creationId="{FE08F798-E537-41A8-A1CC-1E50028DFA2F}"/>
          </ac:graphicFrameMkLst>
        </pc:graphicFrameChg>
        <pc:graphicFrameChg chg="add del mod">
          <ac:chgData name="Kaan Aydin" userId="806ac4fb-eee5-4f85-962b-93e58f7d516c" providerId="ADAL" clId="{D060BC77-27F7-4805-9C05-418EFAFAD8FA}" dt="2023-05-19T20:58:55.564" v="15334"/>
          <ac:graphicFrameMkLst>
            <pc:docMk/>
            <pc:sldMk cId="345129480" sldId="3199"/>
            <ac:graphicFrameMk id="89" creationId="{477892E1-BA12-4F4F-8A1D-E11AC7C1D9E9}"/>
          </ac:graphicFrameMkLst>
        </pc:graphicFrameChg>
        <pc:graphicFrameChg chg="add del mod">
          <ac:chgData name="Kaan Aydin" userId="806ac4fb-eee5-4f85-962b-93e58f7d516c" providerId="ADAL" clId="{D060BC77-27F7-4805-9C05-418EFAFAD8FA}" dt="2023-05-19T20:57:01.761" v="13209"/>
          <ac:graphicFrameMkLst>
            <pc:docMk/>
            <pc:sldMk cId="345129480" sldId="3199"/>
            <ac:graphicFrameMk id="90" creationId="{407066E6-0472-4442-B1DD-4DBA36A78815}"/>
          </ac:graphicFrameMkLst>
        </pc:graphicFrameChg>
        <pc:graphicFrameChg chg="add del mod">
          <ac:chgData name="Kaan Aydin" userId="806ac4fb-eee5-4f85-962b-93e58f7d516c" providerId="ADAL" clId="{D060BC77-27F7-4805-9C05-418EFAFAD8FA}" dt="2023-05-19T20:56:55.047" v="12917"/>
          <ac:graphicFrameMkLst>
            <pc:docMk/>
            <pc:sldMk cId="345129480" sldId="3199"/>
            <ac:graphicFrameMk id="92" creationId="{E1E41659-2DB7-4D7A-BF78-524A68DF1EC1}"/>
          </ac:graphicFrameMkLst>
        </pc:graphicFrameChg>
        <pc:graphicFrameChg chg="add del mod">
          <ac:chgData name="Kaan Aydin" userId="806ac4fb-eee5-4f85-962b-93e58f7d516c" providerId="ADAL" clId="{D060BC77-27F7-4805-9C05-418EFAFAD8FA}" dt="2023-05-19T20:56:54.431" v="12804"/>
          <ac:graphicFrameMkLst>
            <pc:docMk/>
            <pc:sldMk cId="345129480" sldId="3199"/>
            <ac:graphicFrameMk id="94" creationId="{9B92C095-4C20-4DC6-A066-CDDC64E04B3E}"/>
          </ac:graphicFrameMkLst>
        </pc:graphicFrameChg>
        <pc:graphicFrameChg chg="add del mod">
          <ac:chgData name="Kaan Aydin" userId="806ac4fb-eee5-4f85-962b-93e58f7d516c" providerId="ADAL" clId="{D060BC77-27F7-4805-9C05-418EFAFAD8FA}" dt="2023-05-19T20:56:53.820" v="12691"/>
          <ac:graphicFrameMkLst>
            <pc:docMk/>
            <pc:sldMk cId="345129480" sldId="3199"/>
            <ac:graphicFrameMk id="96" creationId="{5ACDF834-2689-43BE-A54D-0173B7DC3E80}"/>
          </ac:graphicFrameMkLst>
        </pc:graphicFrameChg>
        <pc:graphicFrameChg chg="add mod">
          <ac:chgData name="Kaan Aydin" userId="806ac4fb-eee5-4f85-962b-93e58f7d516c" providerId="ADAL" clId="{D060BC77-27F7-4805-9C05-418EFAFAD8FA}" dt="2023-05-19T20:56:52.506" v="12578"/>
          <ac:graphicFrameMkLst>
            <pc:docMk/>
            <pc:sldMk cId="345129480" sldId="3199"/>
            <ac:graphicFrameMk id="98" creationId="{E510972E-9928-4375-8639-B64ACA57D4ED}"/>
          </ac:graphicFrameMkLst>
        </pc:graphicFrameChg>
        <pc:graphicFrameChg chg="add del mod">
          <ac:chgData name="Kaan Aydin" userId="806ac4fb-eee5-4f85-962b-93e58f7d516c" providerId="ADAL" clId="{D060BC77-27F7-4805-9C05-418EFAFAD8FA}" dt="2023-05-19T20:57:50.575" v="13941"/>
          <ac:graphicFrameMkLst>
            <pc:docMk/>
            <pc:sldMk cId="345129480" sldId="3199"/>
            <ac:graphicFrameMk id="101" creationId="{BE327737-39B3-4A55-8BE0-797467071B6E}"/>
          </ac:graphicFrameMkLst>
        </pc:graphicFrameChg>
        <pc:graphicFrameChg chg="add del mod">
          <ac:chgData name="Kaan Aydin" userId="806ac4fb-eee5-4f85-962b-93e58f7d516c" providerId="ADAL" clId="{D060BC77-27F7-4805-9C05-418EFAFAD8FA}" dt="2023-05-19T20:57:18.070" v="13575"/>
          <ac:graphicFrameMkLst>
            <pc:docMk/>
            <pc:sldMk cId="345129480" sldId="3199"/>
            <ac:graphicFrameMk id="103" creationId="{180A4681-560D-4339-86AA-D6279839BADB}"/>
          </ac:graphicFrameMkLst>
        </pc:graphicFrameChg>
        <pc:graphicFrameChg chg="add del mod">
          <ac:chgData name="Kaan Aydin" userId="806ac4fb-eee5-4f85-962b-93e58f7d516c" providerId="ADAL" clId="{D060BC77-27F7-4805-9C05-418EFAFAD8FA}" dt="2023-05-19T20:57:32.294" v="13758"/>
          <ac:graphicFrameMkLst>
            <pc:docMk/>
            <pc:sldMk cId="345129480" sldId="3199"/>
            <ac:graphicFrameMk id="105" creationId="{C9883B71-8D12-4D38-B0A1-3256F07710EE}"/>
          </ac:graphicFrameMkLst>
        </pc:graphicFrameChg>
        <pc:graphicFrameChg chg="add del mod">
          <ac:chgData name="Kaan Aydin" userId="806ac4fb-eee5-4f85-962b-93e58f7d516c" providerId="ADAL" clId="{D060BC77-27F7-4805-9C05-418EFAFAD8FA}" dt="2023-05-19T21:02:42.272" v="17423"/>
          <ac:graphicFrameMkLst>
            <pc:docMk/>
            <pc:sldMk cId="345129480" sldId="3199"/>
            <ac:graphicFrameMk id="107" creationId="{F25864B0-00B8-4E50-8173-2617A6DFE72E}"/>
          </ac:graphicFrameMkLst>
        </pc:graphicFrameChg>
        <pc:graphicFrameChg chg="add del mod">
          <ac:chgData name="Kaan Aydin" userId="806ac4fb-eee5-4f85-962b-93e58f7d516c" providerId="ADAL" clId="{D060BC77-27F7-4805-9C05-418EFAFAD8FA}" dt="2023-05-19T20:58:04.337" v="14173"/>
          <ac:graphicFrameMkLst>
            <pc:docMk/>
            <pc:sldMk cId="345129480" sldId="3199"/>
            <ac:graphicFrameMk id="109" creationId="{84AC0B62-6E3D-4D75-8B67-5B0C95CFF77F}"/>
          </ac:graphicFrameMkLst>
        </pc:graphicFrameChg>
        <pc:graphicFrameChg chg="add del mod">
          <ac:chgData name="Kaan Aydin" userId="806ac4fb-eee5-4f85-962b-93e58f7d516c" providerId="ADAL" clId="{D060BC77-27F7-4805-9C05-418EFAFAD8FA}" dt="2023-05-19T20:58:05.837" v="14394"/>
          <ac:graphicFrameMkLst>
            <pc:docMk/>
            <pc:sldMk cId="345129480" sldId="3199"/>
            <ac:graphicFrameMk id="113" creationId="{CFD5501E-1F76-49E0-86EC-E6092582B3A0}"/>
          </ac:graphicFrameMkLst>
        </pc:graphicFrameChg>
        <pc:graphicFrameChg chg="add del mod">
          <ac:chgData name="Kaan Aydin" userId="806ac4fb-eee5-4f85-962b-93e58f7d516c" providerId="ADAL" clId="{D060BC77-27F7-4805-9C05-418EFAFAD8FA}" dt="2023-05-19T20:58:07.289" v="14605"/>
          <ac:graphicFrameMkLst>
            <pc:docMk/>
            <pc:sldMk cId="345129480" sldId="3199"/>
            <ac:graphicFrameMk id="115" creationId="{D9830E08-A395-4DE2-9FA1-3E961014E3E3}"/>
          </ac:graphicFrameMkLst>
        </pc:graphicFrameChg>
        <pc:graphicFrameChg chg="add del mod">
          <ac:chgData name="Kaan Aydin" userId="806ac4fb-eee5-4f85-962b-93e58f7d516c" providerId="ADAL" clId="{D060BC77-27F7-4805-9C05-418EFAFAD8FA}" dt="2023-05-19T21:02:30.953" v="17095"/>
          <ac:graphicFrameMkLst>
            <pc:docMk/>
            <pc:sldMk cId="345129480" sldId="3199"/>
            <ac:graphicFrameMk id="117" creationId="{412210E3-FB63-4456-9F85-A5542E4D99ED}"/>
          </ac:graphicFrameMkLst>
        </pc:graphicFrameChg>
        <pc:graphicFrameChg chg="add del mod">
          <ac:chgData name="Kaan Aydin" userId="806ac4fb-eee5-4f85-962b-93e58f7d516c" providerId="ADAL" clId="{D060BC77-27F7-4805-9C05-418EFAFAD8FA}" dt="2023-05-19T20:58:42.740" v="14971"/>
          <ac:graphicFrameMkLst>
            <pc:docMk/>
            <pc:sldMk cId="345129480" sldId="3199"/>
            <ac:graphicFrameMk id="119" creationId="{3C0F57A2-4D55-492B-BFD9-62374A86265A}"/>
          </ac:graphicFrameMkLst>
        </pc:graphicFrameChg>
        <pc:graphicFrameChg chg="add del mod">
          <ac:chgData name="Kaan Aydin" userId="806ac4fb-eee5-4f85-962b-93e58f7d516c" providerId="ADAL" clId="{D060BC77-27F7-4805-9C05-418EFAFAD8FA}" dt="2023-05-19T20:58:45.245" v="15140"/>
          <ac:graphicFrameMkLst>
            <pc:docMk/>
            <pc:sldMk cId="345129480" sldId="3199"/>
            <ac:graphicFrameMk id="121" creationId="{8298BF38-546D-4F9F-AB0B-782C7AB37A6F}"/>
          </ac:graphicFrameMkLst>
        </pc:graphicFrameChg>
        <pc:graphicFrameChg chg="add del mod">
          <ac:chgData name="Kaan Aydin" userId="806ac4fb-eee5-4f85-962b-93e58f7d516c" providerId="ADAL" clId="{D060BC77-27F7-4805-9C05-418EFAFAD8FA}" dt="2023-05-19T21:02:27.440" v="16931"/>
          <ac:graphicFrameMkLst>
            <pc:docMk/>
            <pc:sldMk cId="345129480" sldId="3199"/>
            <ac:graphicFrameMk id="123" creationId="{65117358-F8E2-465F-BDDC-A16276CA81FC}"/>
          </ac:graphicFrameMkLst>
        </pc:graphicFrameChg>
        <pc:graphicFrameChg chg="add del mod">
          <ac:chgData name="Kaan Aydin" userId="806ac4fb-eee5-4f85-962b-93e58f7d516c" providerId="ADAL" clId="{D060BC77-27F7-4805-9C05-418EFAFAD8FA}" dt="2023-05-19T20:58:59.691" v="15512"/>
          <ac:graphicFrameMkLst>
            <pc:docMk/>
            <pc:sldMk cId="345129480" sldId="3199"/>
            <ac:graphicFrameMk id="125" creationId="{66AC4920-F342-42BD-BC6A-A73F0F5D6C39}"/>
          </ac:graphicFrameMkLst>
        </pc:graphicFrameChg>
        <pc:graphicFrameChg chg="add del mod">
          <ac:chgData name="Kaan Aydin" userId="806ac4fb-eee5-4f85-962b-93e58f7d516c" providerId="ADAL" clId="{D060BC77-27F7-4805-9C05-418EFAFAD8FA}" dt="2023-05-19T20:59:19.942" v="15690"/>
          <ac:graphicFrameMkLst>
            <pc:docMk/>
            <pc:sldMk cId="345129480" sldId="3199"/>
            <ac:graphicFrameMk id="127" creationId="{E7C1AC78-DED1-4A9C-9C87-D23CB8240568}"/>
          </ac:graphicFrameMkLst>
        </pc:graphicFrameChg>
        <pc:graphicFrameChg chg="add del mod">
          <ac:chgData name="Kaan Aydin" userId="806ac4fb-eee5-4f85-962b-93e58f7d516c" providerId="ADAL" clId="{D060BC77-27F7-4805-9C05-418EFAFAD8FA}" dt="2023-05-19T21:02:37.715" v="17259"/>
          <ac:graphicFrameMkLst>
            <pc:docMk/>
            <pc:sldMk cId="345129480" sldId="3199"/>
            <ac:graphicFrameMk id="129" creationId="{B035965B-E03C-4234-AC59-920E63809556}"/>
          </ac:graphicFrameMkLst>
        </pc:graphicFrameChg>
        <pc:graphicFrameChg chg="add mod">
          <ac:chgData name="Kaan Aydin" userId="806ac4fb-eee5-4f85-962b-93e58f7d516c" providerId="ADAL" clId="{D060BC77-27F7-4805-9C05-418EFAFAD8FA}" dt="2023-05-19T21:00:10.879" v="16860"/>
          <ac:graphicFrameMkLst>
            <pc:docMk/>
            <pc:sldMk cId="345129480" sldId="3199"/>
            <ac:graphicFrameMk id="131" creationId="{B78D623B-E9A3-4291-B3BF-36EDC6736479}"/>
          </ac:graphicFrameMkLst>
        </pc:graphicFrameChg>
        <pc:graphicFrameChg chg="add mod">
          <ac:chgData name="Kaan Aydin" userId="806ac4fb-eee5-4f85-962b-93e58f7d516c" providerId="ADAL" clId="{D060BC77-27F7-4805-9C05-418EFAFAD8FA}" dt="2023-05-19T21:00:10.216" v="16760"/>
          <ac:graphicFrameMkLst>
            <pc:docMk/>
            <pc:sldMk cId="345129480" sldId="3199"/>
            <ac:graphicFrameMk id="133" creationId="{B555CE4A-B9AD-455F-9063-F4F4CFF66ED3}"/>
          </ac:graphicFrameMkLst>
        </pc:graphicFrameChg>
        <pc:graphicFrameChg chg="add mod">
          <ac:chgData name="Kaan Aydin" userId="806ac4fb-eee5-4f85-962b-93e58f7d516c" providerId="ADAL" clId="{D060BC77-27F7-4805-9C05-418EFAFAD8FA}" dt="2023-05-19T21:00:09.611" v="16660"/>
          <ac:graphicFrameMkLst>
            <pc:docMk/>
            <pc:sldMk cId="345129480" sldId="3199"/>
            <ac:graphicFrameMk id="135" creationId="{061A1282-76E8-4610-A26F-2457B49B0004}"/>
          </ac:graphicFrameMkLst>
        </pc:graphicFrameChg>
        <pc:graphicFrameChg chg="add mod">
          <ac:chgData name="Kaan Aydin" userId="806ac4fb-eee5-4f85-962b-93e58f7d516c" providerId="ADAL" clId="{D060BC77-27F7-4805-9C05-418EFAFAD8FA}" dt="2023-05-19T21:00:08.966" v="16560"/>
          <ac:graphicFrameMkLst>
            <pc:docMk/>
            <pc:sldMk cId="345129480" sldId="3199"/>
            <ac:graphicFrameMk id="137" creationId="{F8C9E31D-6190-40D1-858C-7FE3F8D26017}"/>
          </ac:graphicFrameMkLst>
        </pc:graphicFrameChg>
        <pc:graphicFrameChg chg="add del mod">
          <ac:chgData name="Kaan Aydin" userId="806ac4fb-eee5-4f85-962b-93e58f7d516c" providerId="ADAL" clId="{D060BC77-27F7-4805-9C05-418EFAFAD8FA}" dt="2023-05-19T21:48:08.970" v="21506"/>
          <ac:graphicFrameMkLst>
            <pc:docMk/>
            <pc:sldMk cId="345129480" sldId="3199"/>
            <ac:graphicFrameMk id="139" creationId="{227B5258-3F6E-4DC8-B0FF-D21C960441F3}"/>
          </ac:graphicFrameMkLst>
        </pc:graphicFrameChg>
        <pc:graphicFrameChg chg="add del mod">
          <ac:chgData name="Kaan Aydin" userId="806ac4fb-eee5-4f85-962b-93e58f7d516c" providerId="ADAL" clId="{D060BC77-27F7-4805-9C05-418EFAFAD8FA}" dt="2023-05-19T21:48:09.005" v="21514"/>
          <ac:graphicFrameMkLst>
            <pc:docMk/>
            <pc:sldMk cId="345129480" sldId="3199"/>
            <ac:graphicFrameMk id="141" creationId="{2D0F5823-A82C-4135-880E-B3401C5315D8}"/>
          </ac:graphicFrameMkLst>
        </pc:graphicFrameChg>
        <pc:graphicFrameChg chg="add del mod">
          <ac:chgData name="Kaan Aydin" userId="806ac4fb-eee5-4f85-962b-93e58f7d516c" providerId="ADAL" clId="{D060BC77-27F7-4805-9C05-418EFAFAD8FA}" dt="2023-05-19T21:48:08.951" v="21502"/>
          <ac:graphicFrameMkLst>
            <pc:docMk/>
            <pc:sldMk cId="345129480" sldId="3199"/>
            <ac:graphicFrameMk id="143" creationId="{BA863470-4100-4F18-8DE7-9AC41AFC309D}"/>
          </ac:graphicFrameMkLst>
        </pc:graphicFrameChg>
        <pc:graphicFrameChg chg="add del mod">
          <ac:chgData name="Kaan Aydin" userId="806ac4fb-eee5-4f85-962b-93e58f7d516c" providerId="ADAL" clId="{D060BC77-27F7-4805-9C05-418EFAFAD8FA}" dt="2023-05-19T21:48:08.988" v="21510"/>
          <ac:graphicFrameMkLst>
            <pc:docMk/>
            <pc:sldMk cId="345129480" sldId="3199"/>
            <ac:graphicFrameMk id="145" creationId="{95BDE271-3F61-49C0-832D-4D34B4CB7E69}"/>
          </ac:graphicFrameMkLst>
        </pc:graphicFrameChg>
        <pc:graphicFrameChg chg="add del mod">
          <ac:chgData name="Kaan Aydin" userId="806ac4fb-eee5-4f85-962b-93e58f7d516c" providerId="ADAL" clId="{D060BC77-27F7-4805-9C05-418EFAFAD8FA}" dt="2023-05-19T21:25:18.080" v="18862"/>
          <ac:graphicFrameMkLst>
            <pc:docMk/>
            <pc:sldMk cId="345129480" sldId="3199"/>
            <ac:graphicFrameMk id="174" creationId="{A3C59F1C-3F49-4C37-A504-AFD231466A3D}"/>
          </ac:graphicFrameMkLst>
        </pc:graphicFrameChg>
        <pc:graphicFrameChg chg="add del mod">
          <ac:chgData name="Kaan Aydin" userId="806ac4fb-eee5-4f85-962b-93e58f7d516c" providerId="ADAL" clId="{D060BC77-27F7-4805-9C05-418EFAFAD8FA}" dt="2023-05-19T21:25:22.538" v="20069"/>
          <ac:graphicFrameMkLst>
            <pc:docMk/>
            <pc:sldMk cId="345129480" sldId="3199"/>
            <ac:graphicFrameMk id="176" creationId="{E0776F2B-5998-4FF6-BEEB-6B7B71A94187}"/>
          </ac:graphicFrameMkLst>
        </pc:graphicFrameChg>
        <pc:graphicFrameChg chg="add del mod">
          <ac:chgData name="Kaan Aydin" userId="806ac4fb-eee5-4f85-962b-93e58f7d516c" providerId="ADAL" clId="{D060BC77-27F7-4805-9C05-418EFAFAD8FA}" dt="2023-05-19T21:25:23.847" v="20361"/>
          <ac:graphicFrameMkLst>
            <pc:docMk/>
            <pc:sldMk cId="345129480" sldId="3199"/>
            <ac:graphicFrameMk id="199" creationId="{B1032B43-F29F-4C03-AA9B-6F5606DAB6AA}"/>
          </ac:graphicFrameMkLst>
        </pc:graphicFrameChg>
        <pc:graphicFrameChg chg="add del mod">
          <ac:chgData name="Kaan Aydin" userId="806ac4fb-eee5-4f85-962b-93e58f7d516c" providerId="ADAL" clId="{D060BC77-27F7-4805-9C05-418EFAFAD8FA}" dt="2023-05-19T21:25:31.750" v="20604"/>
          <ac:graphicFrameMkLst>
            <pc:docMk/>
            <pc:sldMk cId="345129480" sldId="3199"/>
            <ac:graphicFrameMk id="201" creationId="{724B6E3E-1E36-4F53-8AAC-5C3BF77342C2}"/>
          </ac:graphicFrameMkLst>
        </pc:graphicFrameChg>
        <pc:graphicFrameChg chg="add del mod">
          <ac:chgData name="Kaan Aydin" userId="806ac4fb-eee5-4f85-962b-93e58f7d516c" providerId="ADAL" clId="{D060BC77-27F7-4805-9C05-418EFAFAD8FA}" dt="2023-05-19T21:48:08.901" v="21417"/>
          <ac:graphicFrameMkLst>
            <pc:docMk/>
            <pc:sldMk cId="345129480" sldId="3199"/>
            <ac:graphicFrameMk id="203" creationId="{FF6D2226-8EDB-4FA6-80F4-559F4E210BE8}"/>
          </ac:graphicFrameMkLst>
        </pc:graphicFrameChg>
        <pc:graphicFrameChg chg="add mod">
          <ac:chgData name="Kaan Aydin" userId="806ac4fb-eee5-4f85-962b-93e58f7d516c" providerId="ADAL" clId="{D060BC77-27F7-4805-9C05-418EFAFAD8FA}" dt="2023-05-19T21:48:09.029" v="21540"/>
          <ac:graphicFrameMkLst>
            <pc:docMk/>
            <pc:sldMk cId="345129480" sldId="3199"/>
            <ac:graphicFrameMk id="206" creationId="{E8CE8633-5E24-42ED-8B82-AE9D90CF9653}"/>
          </ac:graphicFrameMkLst>
        </pc:graphicFrameChg>
        <pc:graphicFrameChg chg="add mod">
          <ac:chgData name="Kaan Aydin" userId="806ac4fb-eee5-4f85-962b-93e58f7d516c" providerId="ADAL" clId="{D060BC77-27F7-4805-9C05-418EFAFAD8FA}" dt="2023-05-19T21:48:09.035" v="21587"/>
          <ac:graphicFrameMkLst>
            <pc:docMk/>
            <pc:sldMk cId="345129480" sldId="3199"/>
            <ac:graphicFrameMk id="207" creationId="{63BCD7C5-3249-48B7-A29D-E47E3D272611}"/>
          </ac:graphicFrameMkLst>
        </pc:graphicFrameChg>
        <pc:graphicFrameChg chg="add mod">
          <ac:chgData name="Kaan Aydin" userId="806ac4fb-eee5-4f85-962b-93e58f7d516c" providerId="ADAL" clId="{D060BC77-27F7-4805-9C05-418EFAFAD8FA}" dt="2023-05-19T21:48:09.035" v="21588"/>
          <ac:graphicFrameMkLst>
            <pc:docMk/>
            <pc:sldMk cId="345129480" sldId="3199"/>
            <ac:graphicFrameMk id="208" creationId="{60CDE144-2A99-4EA3-AE6A-934A84209555}"/>
          </ac:graphicFrameMkLst>
        </pc:graphicFrameChg>
        <pc:graphicFrameChg chg="add mod">
          <ac:chgData name="Kaan Aydin" userId="806ac4fb-eee5-4f85-962b-93e58f7d516c" providerId="ADAL" clId="{D060BC77-27F7-4805-9C05-418EFAFAD8FA}" dt="2023-05-19T21:48:09.036" v="21589"/>
          <ac:graphicFrameMkLst>
            <pc:docMk/>
            <pc:sldMk cId="345129480" sldId="3199"/>
            <ac:graphicFrameMk id="209" creationId="{E16862D8-D780-466B-A9DF-5AAD5F347458}"/>
          </ac:graphicFrameMkLst>
        </pc:graphicFrameChg>
        <pc:graphicFrameChg chg="add mod">
          <ac:chgData name="Kaan Aydin" userId="806ac4fb-eee5-4f85-962b-93e58f7d516c" providerId="ADAL" clId="{D060BC77-27F7-4805-9C05-418EFAFAD8FA}" dt="2023-05-19T21:48:09.036" v="21590"/>
          <ac:graphicFrameMkLst>
            <pc:docMk/>
            <pc:sldMk cId="345129480" sldId="3199"/>
            <ac:graphicFrameMk id="210" creationId="{FB882B86-B81A-4B1F-8D78-B890EB805700}"/>
          </ac:graphicFrameMkLst>
        </pc:graphicFrameChg>
        <pc:graphicFrameChg chg="del">
          <ac:chgData name="Kaan Aydin" userId="806ac4fb-eee5-4f85-962b-93e58f7d516c" providerId="ADAL" clId="{D060BC77-27F7-4805-9C05-418EFAFAD8FA}" dt="2023-05-19T00:20:07.654" v="4301"/>
          <ac:graphicFrameMkLst>
            <pc:docMk/>
            <pc:sldMk cId="345129480" sldId="3199"/>
            <ac:graphicFrameMk id="1089" creationId="{07F55F77-EAD3-4E42-A23A-1CFCE328801B}"/>
          </ac:graphicFrameMkLst>
        </pc:graphicFrameChg>
        <pc:graphicFrameChg chg="del">
          <ac:chgData name="Kaan Aydin" userId="806ac4fb-eee5-4f85-962b-93e58f7d516c" providerId="ADAL" clId="{D060BC77-27F7-4805-9C05-418EFAFAD8FA}" dt="2023-05-19T00:20:07.685" v="4313"/>
          <ac:graphicFrameMkLst>
            <pc:docMk/>
            <pc:sldMk cId="345129480" sldId="3199"/>
            <ac:graphicFrameMk id="1090" creationId="{03766C14-294F-49AC-8CB9-42A2B63D8C40}"/>
          </ac:graphicFrameMkLst>
        </pc:graphicFrameChg>
        <pc:graphicFrameChg chg="del">
          <ac:chgData name="Kaan Aydin" userId="806ac4fb-eee5-4f85-962b-93e58f7d516c" providerId="ADAL" clId="{D060BC77-27F7-4805-9C05-418EFAFAD8FA}" dt="2023-05-19T00:20:07.705" v="4317"/>
          <ac:graphicFrameMkLst>
            <pc:docMk/>
            <pc:sldMk cId="345129480" sldId="3199"/>
            <ac:graphicFrameMk id="1091" creationId="{2A848AA1-338C-4514-81B9-0FD559CB5A40}"/>
          </ac:graphicFrameMkLst>
        </pc:graphicFrameChg>
        <pc:graphicFrameChg chg="del">
          <ac:chgData name="Kaan Aydin" userId="806ac4fb-eee5-4f85-962b-93e58f7d516c" providerId="ADAL" clId="{D060BC77-27F7-4805-9C05-418EFAFAD8FA}" dt="2023-05-19T00:20:07.720" v="4321"/>
          <ac:graphicFrameMkLst>
            <pc:docMk/>
            <pc:sldMk cId="345129480" sldId="3199"/>
            <ac:graphicFrameMk id="1092" creationId="{2077343C-ED36-45F9-B3E5-B4C3BB7F409D}"/>
          </ac:graphicFrameMkLst>
        </pc:graphicFrameChg>
        <pc:graphicFrameChg chg="del">
          <ac:chgData name="Kaan Aydin" userId="806ac4fb-eee5-4f85-962b-93e58f7d516c" providerId="ADAL" clId="{D060BC77-27F7-4805-9C05-418EFAFAD8FA}" dt="2023-05-19T00:20:07.735" v="4325"/>
          <ac:graphicFrameMkLst>
            <pc:docMk/>
            <pc:sldMk cId="345129480" sldId="3199"/>
            <ac:graphicFrameMk id="1093" creationId="{B7C85AEE-D87C-4CB7-A0E9-423D92A7A841}"/>
          </ac:graphicFrameMkLst>
        </pc:graphicFrameChg>
        <pc:cxnChg chg="add del mod">
          <ac:chgData name="Kaan Aydin" userId="806ac4fb-eee5-4f85-962b-93e58f7d516c" providerId="ADAL" clId="{D060BC77-27F7-4805-9C05-418EFAFAD8FA}" dt="2023-05-19T00:56:24.075" v="7245" actId="478"/>
          <ac:cxnSpMkLst>
            <pc:docMk/>
            <pc:sldMk cId="345129480" sldId="3199"/>
            <ac:cxnSpMk id="9" creationId="{04550E44-1A9C-435A-A762-3DBC2C443410}"/>
          </ac:cxnSpMkLst>
        </pc:cxnChg>
        <pc:cxnChg chg="add del mod ord">
          <ac:chgData name="Kaan Aydin" userId="806ac4fb-eee5-4f85-962b-93e58f7d516c" providerId="ADAL" clId="{D060BC77-27F7-4805-9C05-418EFAFAD8FA}" dt="2023-05-19T20:58:05.749" v="14308"/>
          <ac:cxnSpMkLst>
            <pc:docMk/>
            <pc:sldMk cId="345129480" sldId="3199"/>
            <ac:cxnSpMk id="30" creationId="{459BF2B8-06FD-4932-B251-48A30E35C260}"/>
          </ac:cxnSpMkLst>
        </pc:cxnChg>
        <pc:cxnChg chg="add del mod ord">
          <ac:chgData name="Kaan Aydin" userId="806ac4fb-eee5-4f85-962b-93e58f7d516c" providerId="ADAL" clId="{D060BC77-27F7-4805-9C05-418EFAFAD8FA}" dt="2023-05-19T20:56:58.208" v="13025"/>
          <ac:cxnSpMkLst>
            <pc:docMk/>
            <pc:sldMk cId="345129480" sldId="3199"/>
            <ac:cxnSpMk id="68" creationId="{C05A27FF-C98D-43D8-962D-03A5A57F3A18}"/>
          </ac:cxnSpMkLst>
        </pc:cxnChg>
        <pc:cxnChg chg="mod ord">
          <ac:chgData name="Kaan Aydin" userId="806ac4fb-eee5-4f85-962b-93e58f7d516c" providerId="ADAL" clId="{D060BC77-27F7-4805-9C05-418EFAFAD8FA}" dt="2023-05-19T21:48:09.033" v="21570"/>
          <ac:cxnSpMkLst>
            <pc:docMk/>
            <pc:sldMk cId="345129480" sldId="3199"/>
            <ac:cxnSpMk id="367" creationId="{00175D1E-27D5-4269-B289-C7911C77BA5A}"/>
          </ac:cxnSpMkLst>
        </pc:cxnChg>
        <pc:cxnChg chg="mod ord">
          <ac:chgData name="Kaan Aydin" userId="806ac4fb-eee5-4f85-962b-93e58f7d516c" providerId="ADAL" clId="{D060BC77-27F7-4805-9C05-418EFAFAD8FA}" dt="2023-05-19T21:48:09.034" v="21574"/>
          <ac:cxnSpMkLst>
            <pc:docMk/>
            <pc:sldMk cId="345129480" sldId="3199"/>
            <ac:cxnSpMk id="542" creationId="{7064DB19-3B1A-4DA0-90CC-964BB35C25AD}"/>
          </ac:cxnSpMkLst>
        </pc:cxnChg>
        <pc:cxnChg chg="del mod ord">
          <ac:chgData name="Kaan Aydin" userId="806ac4fb-eee5-4f85-962b-93e58f7d516c" providerId="ADAL" clId="{D060BC77-27F7-4805-9C05-418EFAFAD8FA}" dt="2023-05-19T20:58:55.478" v="15268"/>
          <ac:cxnSpMkLst>
            <pc:docMk/>
            <pc:sldMk cId="345129480" sldId="3199"/>
            <ac:cxnSpMk id="549" creationId="{09E6726F-A852-4BB6-B7DD-8C7B43610DBF}"/>
          </ac:cxnSpMkLst>
        </pc:cxnChg>
        <pc:cxnChg chg="mod ord">
          <ac:chgData name="Kaan Aydin" userId="806ac4fb-eee5-4f85-962b-93e58f7d516c" providerId="ADAL" clId="{D060BC77-27F7-4805-9C05-418EFAFAD8FA}" dt="2023-05-19T21:48:09.034" v="21578"/>
          <ac:cxnSpMkLst>
            <pc:docMk/>
            <pc:sldMk cId="345129480" sldId="3199"/>
            <ac:cxnSpMk id="551" creationId="{44DCD868-C394-45FC-AE9B-52BF9AA4929A}"/>
          </ac:cxnSpMkLst>
        </pc:cxnChg>
        <pc:cxnChg chg="add del mod ord">
          <ac:chgData name="Kaan Aydin" userId="806ac4fb-eee5-4f85-962b-93e58f7d516c" providerId="ADAL" clId="{D060BC77-27F7-4805-9C05-418EFAFAD8FA}" dt="2023-05-19T21:48:09.035" v="21584"/>
          <ac:cxnSpMkLst>
            <pc:docMk/>
            <pc:sldMk cId="345129480" sldId="3199"/>
            <ac:cxnSpMk id="720" creationId="{FDACEEFE-4494-4E2F-9BE0-C7B56B2BD7B6}"/>
          </ac:cxnSpMkLst>
        </pc:cxnChg>
        <pc:cxnChg chg="del mod ord">
          <ac:chgData name="Kaan Aydin" userId="806ac4fb-eee5-4f85-962b-93e58f7d516c" providerId="ADAL" clId="{D060BC77-27F7-4805-9C05-418EFAFAD8FA}" dt="2023-05-19T21:05:21.132" v="17760" actId="478"/>
          <ac:cxnSpMkLst>
            <pc:docMk/>
            <pc:sldMk cId="345129480" sldId="3199"/>
            <ac:cxnSpMk id="875" creationId="{E5534B21-3CB8-4DD5-B8E3-9B421A7758AE}"/>
          </ac:cxnSpMkLst>
        </pc:cxnChg>
        <pc:cxnChg chg="mod ord">
          <ac:chgData name="Kaan Aydin" userId="806ac4fb-eee5-4f85-962b-93e58f7d516c" providerId="ADAL" clId="{D060BC77-27F7-4805-9C05-418EFAFAD8FA}" dt="2023-05-19T21:48:09.026" v="21519"/>
          <ac:cxnSpMkLst>
            <pc:docMk/>
            <pc:sldMk cId="345129480" sldId="3199"/>
            <ac:cxnSpMk id="945" creationId="{EC5167C5-7EB0-4086-B091-09E181896C50}"/>
          </ac:cxnSpMkLst>
        </pc:cxnChg>
        <pc:cxnChg chg="mod ord">
          <ac:chgData name="Kaan Aydin" userId="806ac4fb-eee5-4f85-962b-93e58f7d516c" providerId="ADAL" clId="{D060BC77-27F7-4805-9C05-418EFAFAD8FA}" dt="2023-05-19T21:48:09.026" v="21521"/>
          <ac:cxnSpMkLst>
            <pc:docMk/>
            <pc:sldMk cId="345129480" sldId="3199"/>
            <ac:cxnSpMk id="946" creationId="{CD6A3B20-6CF8-4C31-BAA2-1C65EB9F0623}"/>
          </ac:cxnSpMkLst>
        </pc:cxnChg>
        <pc:cxnChg chg="mod ord">
          <ac:chgData name="Kaan Aydin" userId="806ac4fb-eee5-4f85-962b-93e58f7d516c" providerId="ADAL" clId="{D060BC77-27F7-4805-9C05-418EFAFAD8FA}" dt="2023-05-19T21:48:09.027" v="21523"/>
          <ac:cxnSpMkLst>
            <pc:docMk/>
            <pc:sldMk cId="345129480" sldId="3199"/>
            <ac:cxnSpMk id="947" creationId="{4625116C-8C50-49D5-81C4-824F205142FB}"/>
          </ac:cxnSpMkLst>
        </pc:cxnChg>
        <pc:cxnChg chg="mod ord">
          <ac:chgData name="Kaan Aydin" userId="806ac4fb-eee5-4f85-962b-93e58f7d516c" providerId="ADAL" clId="{D060BC77-27F7-4805-9C05-418EFAFAD8FA}" dt="2023-05-19T21:48:09.027" v="21525"/>
          <ac:cxnSpMkLst>
            <pc:docMk/>
            <pc:sldMk cId="345129480" sldId="3199"/>
            <ac:cxnSpMk id="948" creationId="{CE61A5E6-9788-4F90-8E4D-BB8C9F3231A8}"/>
          </ac:cxnSpMkLst>
        </pc:cxnChg>
        <pc:cxnChg chg="mod ord">
          <ac:chgData name="Kaan Aydin" userId="806ac4fb-eee5-4f85-962b-93e58f7d516c" providerId="ADAL" clId="{D060BC77-27F7-4805-9C05-418EFAFAD8FA}" dt="2023-05-19T21:48:09.027" v="21527"/>
          <ac:cxnSpMkLst>
            <pc:docMk/>
            <pc:sldMk cId="345129480" sldId="3199"/>
            <ac:cxnSpMk id="949" creationId="{31DB5348-1D07-4ABD-B1FB-602CA81F618E}"/>
          </ac:cxnSpMkLst>
        </pc:cxnChg>
        <pc:cxnChg chg="mod ord">
          <ac:chgData name="Kaan Aydin" userId="806ac4fb-eee5-4f85-962b-93e58f7d516c" providerId="ADAL" clId="{D060BC77-27F7-4805-9C05-418EFAFAD8FA}" dt="2023-05-19T21:48:09.027" v="21529"/>
          <ac:cxnSpMkLst>
            <pc:docMk/>
            <pc:sldMk cId="345129480" sldId="3199"/>
            <ac:cxnSpMk id="950" creationId="{B1F8BE67-341E-435E-B78E-B9DDFE677881}"/>
          </ac:cxnSpMkLst>
        </pc:cxnChg>
        <pc:cxnChg chg="mod ord">
          <ac:chgData name="Kaan Aydin" userId="806ac4fb-eee5-4f85-962b-93e58f7d516c" providerId="ADAL" clId="{D060BC77-27F7-4805-9C05-418EFAFAD8FA}" dt="2023-05-19T21:48:09.028" v="21531"/>
          <ac:cxnSpMkLst>
            <pc:docMk/>
            <pc:sldMk cId="345129480" sldId="3199"/>
            <ac:cxnSpMk id="951" creationId="{362567EC-E486-4A93-9BA7-C1DE02BE9639}"/>
          </ac:cxnSpMkLst>
        </pc:cxnChg>
        <pc:cxnChg chg="mod ord">
          <ac:chgData name="Kaan Aydin" userId="806ac4fb-eee5-4f85-962b-93e58f7d516c" providerId="ADAL" clId="{D060BC77-27F7-4805-9C05-418EFAFAD8FA}" dt="2023-05-19T21:48:09.028" v="21533"/>
          <ac:cxnSpMkLst>
            <pc:docMk/>
            <pc:sldMk cId="345129480" sldId="3199"/>
            <ac:cxnSpMk id="952" creationId="{BFDA10C6-3C6B-43F9-BE9F-DC20BBDEC322}"/>
          </ac:cxnSpMkLst>
        </pc:cxnChg>
        <pc:cxnChg chg="mod ord">
          <ac:chgData name="Kaan Aydin" userId="806ac4fb-eee5-4f85-962b-93e58f7d516c" providerId="ADAL" clId="{D060BC77-27F7-4805-9C05-418EFAFAD8FA}" dt="2023-05-19T21:48:09.028" v="21535"/>
          <ac:cxnSpMkLst>
            <pc:docMk/>
            <pc:sldMk cId="345129480" sldId="3199"/>
            <ac:cxnSpMk id="953" creationId="{9D0F77A3-B365-4C2F-8E36-B3EC61368EDD}"/>
          </ac:cxnSpMkLst>
        </pc:cxnChg>
        <pc:cxnChg chg="mod ord">
          <ac:chgData name="Kaan Aydin" userId="806ac4fb-eee5-4f85-962b-93e58f7d516c" providerId="ADAL" clId="{D060BC77-27F7-4805-9C05-418EFAFAD8FA}" dt="2023-05-19T21:48:09.028" v="21537"/>
          <ac:cxnSpMkLst>
            <pc:docMk/>
            <pc:sldMk cId="345129480" sldId="3199"/>
            <ac:cxnSpMk id="954" creationId="{A20505AE-A96C-4568-AB1C-0A98C97CB149}"/>
          </ac:cxnSpMkLst>
        </pc:cxnChg>
        <pc:cxnChg chg="mod ord">
          <ac:chgData name="Kaan Aydin" userId="806ac4fb-eee5-4f85-962b-93e58f7d516c" providerId="ADAL" clId="{D060BC77-27F7-4805-9C05-418EFAFAD8FA}" dt="2023-05-19T21:48:09.029" v="21539"/>
          <ac:cxnSpMkLst>
            <pc:docMk/>
            <pc:sldMk cId="345129480" sldId="3199"/>
            <ac:cxnSpMk id="955" creationId="{0D51A873-6EC5-4ED7-A115-8E0DABDD7A75}"/>
          </ac:cxnSpMkLst>
        </pc:cxnChg>
        <pc:cxnChg chg="del">
          <ac:chgData name="Kaan Aydin" userId="806ac4fb-eee5-4f85-962b-93e58f7d516c" providerId="ADAL" clId="{D060BC77-27F7-4805-9C05-418EFAFAD8FA}" dt="2023-05-19T00:20:07.558" v="4063"/>
          <ac:cxnSpMkLst>
            <pc:docMk/>
            <pc:sldMk cId="345129480" sldId="3199"/>
            <ac:cxnSpMk id="956" creationId="{4183086F-D8AF-49E7-BF1A-0040D855384F}"/>
          </ac:cxnSpMkLst>
        </pc:cxnChg>
        <pc:cxnChg chg="del">
          <ac:chgData name="Kaan Aydin" userId="806ac4fb-eee5-4f85-962b-93e58f7d516c" providerId="ADAL" clId="{D060BC77-27F7-4805-9C05-418EFAFAD8FA}" dt="2023-05-19T00:20:07.557" v="4059"/>
          <ac:cxnSpMkLst>
            <pc:docMk/>
            <pc:sldMk cId="345129480" sldId="3199"/>
            <ac:cxnSpMk id="957" creationId="{CFFB35C1-BD25-4D22-8587-98F60A4F4912}"/>
          </ac:cxnSpMkLst>
        </pc:cxnChg>
        <pc:cxnChg chg="del">
          <ac:chgData name="Kaan Aydin" userId="806ac4fb-eee5-4f85-962b-93e58f7d516c" providerId="ADAL" clId="{D060BC77-27F7-4805-9C05-418EFAFAD8FA}" dt="2023-05-19T00:20:07.557" v="4055"/>
          <ac:cxnSpMkLst>
            <pc:docMk/>
            <pc:sldMk cId="345129480" sldId="3199"/>
            <ac:cxnSpMk id="958" creationId="{88F64573-1BC0-4BA5-92B9-BF5E5DCA56FE}"/>
          </ac:cxnSpMkLst>
        </pc:cxnChg>
        <pc:cxnChg chg="mod ord">
          <ac:chgData name="Kaan Aydin" userId="806ac4fb-eee5-4f85-962b-93e58f7d516c" providerId="ADAL" clId="{D060BC77-27F7-4805-9C05-418EFAFAD8FA}" dt="2023-05-19T21:48:09.037" v="21592"/>
          <ac:cxnSpMkLst>
            <pc:docMk/>
            <pc:sldMk cId="345129480" sldId="3199"/>
            <ac:cxnSpMk id="1014" creationId="{0C5C48A2-15E9-41A9-80D7-667B7C87ADB6}"/>
          </ac:cxnSpMkLst>
        </pc:cxnChg>
      </pc:sldChg>
      <pc:sldChg chg="delSp modSp del">
        <pc:chgData name="Kaan Aydin" userId="806ac4fb-eee5-4f85-962b-93e58f7d516c" providerId="ADAL" clId="{D060BC77-27F7-4805-9C05-418EFAFAD8FA}" dt="2023-05-19T00:20:06.926" v="3987" actId="2696"/>
        <pc:sldMkLst>
          <pc:docMk/>
          <pc:sldMk cId="277383891" sldId="3200"/>
        </pc:sldMkLst>
        <pc:spChg chg="del">
          <ac:chgData name="Kaan Aydin" userId="806ac4fb-eee5-4f85-962b-93e58f7d516c" providerId="ADAL" clId="{D060BC77-27F7-4805-9C05-418EFAFAD8FA}" dt="2023-05-19T00:15:15.536" v="3480" actId="478"/>
          <ac:spMkLst>
            <pc:docMk/>
            <pc:sldMk cId="277383891" sldId="3200"/>
            <ac:spMk id="27" creationId="{9922EA6A-AF5D-4313-B145-2EBCE0842451}"/>
          </ac:spMkLst>
        </pc:spChg>
        <pc:spChg chg="del mod">
          <ac:chgData name="Kaan Aydin" userId="806ac4fb-eee5-4f85-962b-93e58f7d516c" providerId="ADAL" clId="{D060BC77-27F7-4805-9C05-418EFAFAD8FA}" dt="2023-05-19T00:15:15.536" v="3480" actId="478"/>
          <ac:spMkLst>
            <pc:docMk/>
            <pc:sldMk cId="277383891" sldId="3200"/>
            <ac:spMk id="32" creationId="{EAE30DCD-5FE4-4B12-8A87-E5CD0C9EEEA6}"/>
          </ac:spMkLst>
        </pc:spChg>
        <pc:spChg chg="del">
          <ac:chgData name="Kaan Aydin" userId="806ac4fb-eee5-4f85-962b-93e58f7d516c" providerId="ADAL" clId="{D060BC77-27F7-4805-9C05-418EFAFAD8FA}" dt="2023-05-19T00:20:02.063" v="3984"/>
          <ac:spMkLst>
            <pc:docMk/>
            <pc:sldMk cId="277383891" sldId="3200"/>
            <ac:spMk id="35" creationId="{A53CFB10-BB2B-452F-A838-606C1B51F977}"/>
          </ac:spMkLst>
        </pc:spChg>
        <pc:grpChg chg="del">
          <ac:chgData name="Kaan Aydin" userId="806ac4fb-eee5-4f85-962b-93e58f7d516c" providerId="ADAL" clId="{D060BC77-27F7-4805-9C05-418EFAFAD8FA}" dt="2023-05-19T00:15:15.536" v="3480" actId="478"/>
          <ac:grpSpMkLst>
            <pc:docMk/>
            <pc:sldMk cId="277383891" sldId="3200"/>
            <ac:grpSpMk id="36" creationId="{A8FF1D11-3592-4F6D-9D67-9AF02F1398A1}"/>
          </ac:grpSpMkLst>
        </pc:grpChg>
        <pc:picChg chg="del">
          <ac:chgData name="Kaan Aydin" userId="806ac4fb-eee5-4f85-962b-93e58f7d516c" providerId="ADAL" clId="{D060BC77-27F7-4805-9C05-418EFAFAD8FA}" dt="2023-05-19T00:15:15.536" v="3480" actId="478"/>
          <ac:picMkLst>
            <pc:docMk/>
            <pc:sldMk cId="277383891" sldId="3200"/>
            <ac:picMk id="5125" creationId="{F92EC29C-0B08-44F7-98C6-02464273B63F}"/>
          </ac:picMkLst>
        </pc:picChg>
      </pc:sldChg>
      <pc:sldChg chg="modSp del">
        <pc:chgData name="Kaan Aydin" userId="806ac4fb-eee5-4f85-962b-93e58f7d516c" providerId="ADAL" clId="{D060BC77-27F7-4805-9C05-418EFAFAD8FA}" dt="2023-05-19T21:58:17.045" v="22327" actId="2696"/>
        <pc:sldMkLst>
          <pc:docMk/>
          <pc:sldMk cId="3096354979" sldId="3201"/>
        </pc:sldMkLst>
        <pc:spChg chg="mod">
          <ac:chgData name="Kaan Aydin" userId="806ac4fb-eee5-4f85-962b-93e58f7d516c" providerId="ADAL" clId="{D060BC77-27F7-4805-9C05-418EFAFAD8FA}" dt="2023-05-19T21:48:35.891" v="21635" actId="20577"/>
          <ac:spMkLst>
            <pc:docMk/>
            <pc:sldMk cId="3096354979" sldId="3201"/>
            <ac:spMk id="3" creationId="{638BF128-60AB-49B4-A060-7E33E663E1B4}"/>
          </ac:spMkLst>
        </pc:spChg>
      </pc:sldChg>
      <pc:sldChg chg="addSp delSp modSp">
        <pc:chgData name="Kaan Aydin" userId="806ac4fb-eee5-4f85-962b-93e58f7d516c" providerId="ADAL" clId="{D060BC77-27F7-4805-9C05-418EFAFAD8FA}" dt="2023-05-19T21:51:32.216" v="21727" actId="20577"/>
        <pc:sldMkLst>
          <pc:docMk/>
          <pc:sldMk cId="2706460313" sldId="3202"/>
        </pc:sldMkLst>
        <pc:spChg chg="mod ord">
          <ac:chgData name="Kaan Aydin" userId="806ac4fb-eee5-4f85-962b-93e58f7d516c" providerId="ADAL" clId="{D060BC77-27F7-4805-9C05-418EFAFAD8FA}" dt="2023-05-18T14:01:57.701" v="494"/>
          <ac:spMkLst>
            <pc:docMk/>
            <pc:sldMk cId="2706460313" sldId="3202"/>
            <ac:spMk id="2" creationId="{F15578C2-69FE-45D8-BFDA-564ECE604515}"/>
          </ac:spMkLst>
        </pc:spChg>
        <pc:spChg chg="add del mod">
          <ac:chgData name="Kaan Aydin" userId="806ac4fb-eee5-4f85-962b-93e58f7d516c" providerId="ADAL" clId="{D060BC77-27F7-4805-9C05-418EFAFAD8FA}" dt="2023-05-18T14:01:57.709" v="522"/>
          <ac:spMkLst>
            <pc:docMk/>
            <pc:sldMk cId="2706460313" sldId="3202"/>
            <ac:spMk id="3" creationId="{C34EFAEA-FA4B-421D-B588-34271017CC65}"/>
          </ac:spMkLst>
        </pc:spChg>
        <pc:spChg chg="mod ord">
          <ac:chgData name="Kaan Aydin" userId="806ac4fb-eee5-4f85-962b-93e58f7d516c" providerId="ADAL" clId="{D060BC77-27F7-4805-9C05-418EFAFAD8FA}" dt="2023-05-18T14:01:57.701" v="496"/>
          <ac:spMkLst>
            <pc:docMk/>
            <pc:sldMk cId="2706460313" sldId="3202"/>
            <ac:spMk id="4" creationId="{BBDA29AB-838E-43DB-BD0C-02DAD3B5E38D}"/>
          </ac:spMkLst>
        </pc:spChg>
        <pc:spChg chg="mod ord">
          <ac:chgData name="Kaan Aydin" userId="806ac4fb-eee5-4f85-962b-93e58f7d516c" providerId="ADAL" clId="{D060BC77-27F7-4805-9C05-418EFAFAD8FA}" dt="2023-05-18T14:01:57.701" v="498"/>
          <ac:spMkLst>
            <pc:docMk/>
            <pc:sldMk cId="2706460313" sldId="3202"/>
            <ac:spMk id="5" creationId="{E12A9ADB-C796-4FA3-9F00-29440A8FA820}"/>
          </ac:spMkLst>
        </pc:spChg>
        <pc:spChg chg="mod ord topLvl">
          <ac:chgData name="Kaan Aydin" userId="806ac4fb-eee5-4f85-962b-93e58f7d516c" providerId="ADAL" clId="{D060BC77-27F7-4805-9C05-418EFAFAD8FA}" dt="2023-05-19T00:37:55.860" v="6578" actId="165"/>
          <ac:spMkLst>
            <pc:docMk/>
            <pc:sldMk cId="2706460313" sldId="3202"/>
            <ac:spMk id="9" creationId="{FCBE9D71-A20D-440E-81BE-2E6D19656D7D}"/>
          </ac:spMkLst>
        </pc:spChg>
        <pc:spChg chg="mod ord">
          <ac:chgData name="Kaan Aydin" userId="806ac4fb-eee5-4f85-962b-93e58f7d516c" providerId="ADAL" clId="{D060BC77-27F7-4805-9C05-418EFAFAD8FA}" dt="2023-05-19T00:30:12.699" v="5705" actId="1076"/>
          <ac:spMkLst>
            <pc:docMk/>
            <pc:sldMk cId="2706460313" sldId="3202"/>
            <ac:spMk id="10" creationId="{DFC77A0B-26AE-4069-B9F6-C61EC4BE03A6}"/>
          </ac:spMkLst>
        </pc:spChg>
        <pc:spChg chg="mod ord">
          <ac:chgData name="Kaan Aydin" userId="806ac4fb-eee5-4f85-962b-93e58f7d516c" providerId="ADAL" clId="{D060BC77-27F7-4805-9C05-418EFAFAD8FA}" dt="2023-05-19T00:30:12.699" v="5705" actId="1076"/>
          <ac:spMkLst>
            <pc:docMk/>
            <pc:sldMk cId="2706460313" sldId="3202"/>
            <ac:spMk id="11" creationId="{3C82B961-BD4C-41B5-81DC-15F938002DB5}"/>
          </ac:spMkLst>
        </pc:spChg>
        <pc:spChg chg="mod ord">
          <ac:chgData name="Kaan Aydin" userId="806ac4fb-eee5-4f85-962b-93e58f7d516c" providerId="ADAL" clId="{D060BC77-27F7-4805-9C05-418EFAFAD8FA}" dt="2023-05-19T00:30:12.699" v="5705" actId="1076"/>
          <ac:spMkLst>
            <pc:docMk/>
            <pc:sldMk cId="2706460313" sldId="3202"/>
            <ac:spMk id="12" creationId="{5F002586-1CEA-496D-A244-DD7DF1532C10}"/>
          </ac:spMkLst>
        </pc:spChg>
        <pc:spChg chg="mod ord">
          <ac:chgData name="Kaan Aydin" userId="806ac4fb-eee5-4f85-962b-93e58f7d516c" providerId="ADAL" clId="{D060BC77-27F7-4805-9C05-418EFAFAD8FA}" dt="2023-05-19T00:30:12.699" v="5705" actId="1076"/>
          <ac:spMkLst>
            <pc:docMk/>
            <pc:sldMk cId="2706460313" sldId="3202"/>
            <ac:spMk id="13" creationId="{89951721-4FCD-40FA-AA27-387B8B3D21D1}"/>
          </ac:spMkLst>
        </pc:spChg>
        <pc:spChg chg="add mod">
          <ac:chgData name="Kaan Aydin" userId="806ac4fb-eee5-4f85-962b-93e58f7d516c" providerId="ADAL" clId="{D060BC77-27F7-4805-9C05-418EFAFAD8FA}" dt="2023-05-19T21:47:49.937" v="21240" actId="14100"/>
          <ac:spMkLst>
            <pc:docMk/>
            <pc:sldMk cId="2706460313" sldId="3202"/>
            <ac:spMk id="14" creationId="{2B9A8BF4-60BC-4CA3-8518-02CCDEC79C33}"/>
          </ac:spMkLst>
        </pc:spChg>
        <pc:spChg chg="mod ord">
          <ac:chgData name="Kaan Aydin" userId="806ac4fb-eee5-4f85-962b-93e58f7d516c" providerId="ADAL" clId="{D060BC77-27F7-4805-9C05-418EFAFAD8FA}" dt="2023-05-19T00:30:12.699" v="5705" actId="1076"/>
          <ac:spMkLst>
            <pc:docMk/>
            <pc:sldMk cId="2706460313" sldId="3202"/>
            <ac:spMk id="16" creationId="{A1182B9A-C9A6-4847-BF82-DF3FCAC94F3D}"/>
          </ac:spMkLst>
        </pc:spChg>
        <pc:spChg chg="mod ord">
          <ac:chgData name="Kaan Aydin" userId="806ac4fb-eee5-4f85-962b-93e58f7d516c" providerId="ADAL" clId="{D060BC77-27F7-4805-9C05-418EFAFAD8FA}" dt="2023-05-19T00:30:12.699" v="5705" actId="1076"/>
          <ac:spMkLst>
            <pc:docMk/>
            <pc:sldMk cId="2706460313" sldId="3202"/>
            <ac:spMk id="17" creationId="{1218BA04-9832-423F-B517-24F36B710E7D}"/>
          </ac:spMkLst>
        </pc:spChg>
        <pc:spChg chg="mod ord">
          <ac:chgData name="Kaan Aydin" userId="806ac4fb-eee5-4f85-962b-93e58f7d516c" providerId="ADAL" clId="{D060BC77-27F7-4805-9C05-418EFAFAD8FA}" dt="2023-05-19T00:39:01.276" v="6598" actId="20577"/>
          <ac:spMkLst>
            <pc:docMk/>
            <pc:sldMk cId="2706460313" sldId="3202"/>
            <ac:spMk id="18" creationId="{92C3D86C-A091-499F-AA8F-9E9871CE572F}"/>
          </ac:spMkLst>
        </pc:spChg>
        <pc:spChg chg="mod ord">
          <ac:chgData name="Kaan Aydin" userId="806ac4fb-eee5-4f85-962b-93e58f7d516c" providerId="ADAL" clId="{D060BC77-27F7-4805-9C05-418EFAFAD8FA}" dt="2023-05-19T00:30:12.699" v="5705" actId="1076"/>
          <ac:spMkLst>
            <pc:docMk/>
            <pc:sldMk cId="2706460313" sldId="3202"/>
            <ac:spMk id="19" creationId="{D622A2B5-9F76-41B0-B83E-0452E18E0E41}"/>
          </ac:spMkLst>
        </pc:spChg>
        <pc:spChg chg="mod ord">
          <ac:chgData name="Kaan Aydin" userId="806ac4fb-eee5-4f85-962b-93e58f7d516c" providerId="ADAL" clId="{D060BC77-27F7-4805-9C05-418EFAFAD8FA}" dt="2023-05-19T00:30:12.699" v="5705" actId="1076"/>
          <ac:spMkLst>
            <pc:docMk/>
            <pc:sldMk cId="2706460313" sldId="3202"/>
            <ac:spMk id="20" creationId="{67D46BB6-D13E-4545-9DE6-8264E578AA8A}"/>
          </ac:spMkLst>
        </pc:spChg>
        <pc:spChg chg="add del mod ord">
          <ac:chgData name="Kaan Aydin" userId="806ac4fb-eee5-4f85-962b-93e58f7d516c" providerId="ADAL" clId="{D060BC77-27F7-4805-9C05-418EFAFAD8FA}" dt="2023-05-19T00:37:22.647" v="6574" actId="478"/>
          <ac:spMkLst>
            <pc:docMk/>
            <pc:sldMk cId="2706460313" sldId="3202"/>
            <ac:spMk id="21" creationId="{1AFE13DC-FC2E-415B-9DF7-CAC681442BAB}"/>
          </ac:spMkLst>
        </pc:spChg>
        <pc:spChg chg="mod ord topLvl">
          <ac:chgData name="Kaan Aydin" userId="806ac4fb-eee5-4f85-962b-93e58f7d516c" providerId="ADAL" clId="{D060BC77-27F7-4805-9C05-418EFAFAD8FA}" dt="2023-05-19T00:37:55.860" v="6578" actId="165"/>
          <ac:spMkLst>
            <pc:docMk/>
            <pc:sldMk cId="2706460313" sldId="3202"/>
            <ac:spMk id="26" creationId="{C6E2AEA9-0F2F-4DD8-9E6B-AF05382077ED}"/>
          </ac:spMkLst>
        </pc:spChg>
        <pc:spChg chg="mod ord">
          <ac:chgData name="Kaan Aydin" userId="806ac4fb-eee5-4f85-962b-93e58f7d516c" providerId="ADAL" clId="{D060BC77-27F7-4805-9C05-418EFAFAD8FA}" dt="2023-05-19T00:30:12.699" v="5705" actId="1076"/>
          <ac:spMkLst>
            <pc:docMk/>
            <pc:sldMk cId="2706460313" sldId="3202"/>
            <ac:spMk id="27" creationId="{6AD0BD74-75C7-4A5A-BE07-05085165DCE6}"/>
          </ac:spMkLst>
        </pc:spChg>
        <pc:spChg chg="mod ord">
          <ac:chgData name="Kaan Aydin" userId="806ac4fb-eee5-4f85-962b-93e58f7d516c" providerId="ADAL" clId="{D060BC77-27F7-4805-9C05-418EFAFAD8FA}" dt="2023-05-19T00:30:12.699" v="5705" actId="1076"/>
          <ac:spMkLst>
            <pc:docMk/>
            <pc:sldMk cId="2706460313" sldId="3202"/>
            <ac:spMk id="28" creationId="{5B36930A-2A3D-4974-BDCC-7CC29D73E321}"/>
          </ac:spMkLst>
        </pc:spChg>
        <pc:spChg chg="mod ord">
          <ac:chgData name="Kaan Aydin" userId="806ac4fb-eee5-4f85-962b-93e58f7d516c" providerId="ADAL" clId="{D060BC77-27F7-4805-9C05-418EFAFAD8FA}" dt="2023-05-19T00:30:12.699" v="5705" actId="1076"/>
          <ac:spMkLst>
            <pc:docMk/>
            <pc:sldMk cId="2706460313" sldId="3202"/>
            <ac:spMk id="29" creationId="{52B50E75-E4C2-4A4A-A26B-FE8C54232B80}"/>
          </ac:spMkLst>
        </pc:spChg>
        <pc:spChg chg="mod ord">
          <ac:chgData name="Kaan Aydin" userId="806ac4fb-eee5-4f85-962b-93e58f7d516c" providerId="ADAL" clId="{D060BC77-27F7-4805-9C05-418EFAFAD8FA}" dt="2023-05-19T00:30:12.699" v="5705" actId="1076"/>
          <ac:spMkLst>
            <pc:docMk/>
            <pc:sldMk cId="2706460313" sldId="3202"/>
            <ac:spMk id="30" creationId="{847CAEA7-42AA-4ED0-B605-B7D31A7C901F}"/>
          </ac:spMkLst>
        </pc:spChg>
        <pc:spChg chg="add mod">
          <ac:chgData name="Kaan Aydin" userId="806ac4fb-eee5-4f85-962b-93e58f7d516c" providerId="ADAL" clId="{D060BC77-27F7-4805-9C05-418EFAFAD8FA}" dt="2023-05-19T21:51:32.216" v="21727" actId="20577"/>
          <ac:spMkLst>
            <pc:docMk/>
            <pc:sldMk cId="2706460313" sldId="3202"/>
            <ac:spMk id="31" creationId="{316C5857-756B-4FE0-BB48-7E7823F0D559}"/>
          </ac:spMkLst>
        </pc:spChg>
        <pc:spChg chg="add mod">
          <ac:chgData name="Kaan Aydin" userId="806ac4fb-eee5-4f85-962b-93e58f7d516c" providerId="ADAL" clId="{D060BC77-27F7-4805-9C05-418EFAFAD8FA}" dt="2023-05-19T21:47:49.937" v="21240" actId="14100"/>
          <ac:spMkLst>
            <pc:docMk/>
            <pc:sldMk cId="2706460313" sldId="3202"/>
            <ac:spMk id="34" creationId="{C1A02B3D-4C04-4935-8549-AD1324808543}"/>
          </ac:spMkLst>
        </pc:spChg>
        <pc:spChg chg="add mod">
          <ac:chgData name="Kaan Aydin" userId="806ac4fb-eee5-4f85-962b-93e58f7d516c" providerId="ADAL" clId="{D060BC77-27F7-4805-9C05-418EFAFAD8FA}" dt="2023-05-19T21:47:49.937" v="21240" actId="14100"/>
          <ac:spMkLst>
            <pc:docMk/>
            <pc:sldMk cId="2706460313" sldId="3202"/>
            <ac:spMk id="35" creationId="{7A3CBDDB-7C34-4170-BB42-BF151D82A801}"/>
          </ac:spMkLst>
        </pc:spChg>
        <pc:spChg chg="add mod">
          <ac:chgData name="Kaan Aydin" userId="806ac4fb-eee5-4f85-962b-93e58f7d516c" providerId="ADAL" clId="{D060BC77-27F7-4805-9C05-418EFAFAD8FA}" dt="2023-05-19T21:47:49.937" v="21240" actId="14100"/>
          <ac:spMkLst>
            <pc:docMk/>
            <pc:sldMk cId="2706460313" sldId="3202"/>
            <ac:spMk id="36" creationId="{556CC11C-F5BA-4FB4-96B0-419CAABA5BB3}"/>
          </ac:spMkLst>
        </pc:spChg>
        <pc:spChg chg="add mod">
          <ac:chgData name="Kaan Aydin" userId="806ac4fb-eee5-4f85-962b-93e58f7d516c" providerId="ADAL" clId="{D060BC77-27F7-4805-9C05-418EFAFAD8FA}" dt="2023-05-19T21:47:49.937" v="21240" actId="14100"/>
          <ac:spMkLst>
            <pc:docMk/>
            <pc:sldMk cId="2706460313" sldId="3202"/>
            <ac:spMk id="37" creationId="{6ABC845D-0CB6-4893-95E6-F4CA1F1A463F}"/>
          </ac:spMkLst>
        </pc:spChg>
        <pc:grpChg chg="add del mod">
          <ac:chgData name="Kaan Aydin" userId="806ac4fb-eee5-4f85-962b-93e58f7d516c" providerId="ADAL" clId="{D060BC77-27F7-4805-9C05-418EFAFAD8FA}" dt="2023-05-19T00:37:55.860" v="6578" actId="165"/>
          <ac:grpSpMkLst>
            <pc:docMk/>
            <pc:sldMk cId="2706460313" sldId="3202"/>
            <ac:grpSpMk id="7" creationId="{F0A24675-41DD-425B-B51A-901665B29B4B}"/>
          </ac:grpSpMkLst>
        </pc:grpChg>
        <pc:graphicFrameChg chg="mod">
          <ac:chgData name="Kaan Aydin" userId="806ac4fb-eee5-4f85-962b-93e58f7d516c" providerId="ADAL" clId="{D060BC77-27F7-4805-9C05-418EFAFAD8FA}" dt="2023-05-18T14:01:57.717" v="524"/>
          <ac:graphicFrameMkLst>
            <pc:docMk/>
            <pc:sldMk cId="2706460313" sldId="3202"/>
            <ac:graphicFrameMk id="6" creationId="{2AB758C9-F349-4BFD-8719-37AC5DAA009D}"/>
          </ac:graphicFrameMkLst>
        </pc:graphicFrameChg>
        <pc:picChg chg="add mod">
          <ac:chgData name="Kaan Aydin" userId="806ac4fb-eee5-4f85-962b-93e58f7d516c" providerId="ADAL" clId="{D060BC77-27F7-4805-9C05-418EFAFAD8FA}" dt="2023-05-19T00:37:57.994" v="6582"/>
          <ac:picMkLst>
            <pc:docMk/>
            <pc:sldMk cId="2706460313" sldId="3202"/>
            <ac:picMk id="22" creationId="{035503C4-0A90-466C-AB09-F53618C086AF}"/>
          </ac:picMkLst>
        </pc:picChg>
        <pc:picChg chg="add mod">
          <ac:chgData name="Kaan Aydin" userId="806ac4fb-eee5-4f85-962b-93e58f7d516c" providerId="ADAL" clId="{D060BC77-27F7-4805-9C05-418EFAFAD8FA}" dt="2023-05-19T00:38:49.619" v="6593" actId="14100"/>
          <ac:picMkLst>
            <pc:docMk/>
            <pc:sldMk cId="2706460313" sldId="3202"/>
            <ac:picMk id="24" creationId="{3E2AA6DB-7E3F-46B7-8B6C-56EFC94A873C}"/>
          </ac:picMkLst>
        </pc:picChg>
        <pc:picChg chg="add mod">
          <ac:chgData name="Kaan Aydin" userId="806ac4fb-eee5-4f85-962b-93e58f7d516c" providerId="ADAL" clId="{D060BC77-27F7-4805-9C05-418EFAFAD8FA}" dt="2023-05-19T00:39:18.979" v="6607" actId="14100"/>
          <ac:picMkLst>
            <pc:docMk/>
            <pc:sldMk cId="2706460313" sldId="3202"/>
            <ac:picMk id="39" creationId="{8004D3C2-BFFB-4739-ABE4-0995EC4E3FC6}"/>
          </ac:picMkLst>
        </pc:picChg>
        <pc:picChg chg="add mod">
          <ac:chgData name="Kaan Aydin" userId="806ac4fb-eee5-4f85-962b-93e58f7d516c" providerId="ADAL" clId="{D060BC77-27F7-4805-9C05-418EFAFAD8FA}" dt="2023-05-19T00:39:59.582" v="6617" actId="14100"/>
          <ac:picMkLst>
            <pc:docMk/>
            <pc:sldMk cId="2706460313" sldId="3202"/>
            <ac:picMk id="41" creationId="{9411F13A-1328-4594-86AE-BB48C34075B2}"/>
          </ac:picMkLst>
        </pc:picChg>
        <pc:picChg chg="add mod">
          <ac:chgData name="Kaan Aydin" userId="806ac4fb-eee5-4f85-962b-93e58f7d516c" providerId="ADAL" clId="{D060BC77-27F7-4805-9C05-418EFAFAD8FA}" dt="2023-05-19T00:40:21.067" v="6642" actId="14100"/>
          <ac:picMkLst>
            <pc:docMk/>
            <pc:sldMk cId="2706460313" sldId="3202"/>
            <ac:picMk id="43" creationId="{8FB70335-3D96-470D-AFC7-2F477DA9954F}"/>
          </ac:picMkLst>
        </pc:picChg>
        <pc:cxnChg chg="add del mod">
          <ac:chgData name="Kaan Aydin" userId="806ac4fb-eee5-4f85-962b-93e58f7d516c" providerId="ADAL" clId="{D060BC77-27F7-4805-9C05-418EFAFAD8FA}" dt="2023-05-19T00:30:09.893" v="5704" actId="478"/>
          <ac:cxnSpMkLst>
            <pc:docMk/>
            <pc:sldMk cId="2706460313" sldId="3202"/>
            <ac:cxnSpMk id="8" creationId="{BD36D6D0-2FAC-4718-960E-6D6B80CFD116}"/>
          </ac:cxnSpMkLst>
        </pc:cxnChg>
        <pc:cxnChg chg="add del mod">
          <ac:chgData name="Kaan Aydin" userId="806ac4fb-eee5-4f85-962b-93e58f7d516c" providerId="ADAL" clId="{D060BC77-27F7-4805-9C05-418EFAFAD8FA}" dt="2023-05-19T00:30:09.893" v="5704" actId="478"/>
          <ac:cxnSpMkLst>
            <pc:docMk/>
            <pc:sldMk cId="2706460313" sldId="3202"/>
            <ac:cxnSpMk id="25" creationId="{14213F5C-3BB5-4BD0-A142-30FFD79271F9}"/>
          </ac:cxnSpMkLst>
        </pc:cxnChg>
        <pc:cxnChg chg="add del mod">
          <ac:chgData name="Kaan Aydin" userId="806ac4fb-eee5-4f85-962b-93e58f7d516c" providerId="ADAL" clId="{D060BC77-27F7-4805-9C05-418EFAFAD8FA}" dt="2023-05-19T00:30:09.893" v="5704" actId="478"/>
          <ac:cxnSpMkLst>
            <pc:docMk/>
            <pc:sldMk cId="2706460313" sldId="3202"/>
            <ac:cxnSpMk id="31" creationId="{5F673F9A-31AC-416B-9639-F3034A33539E}"/>
          </ac:cxnSpMkLst>
        </pc:cxnChg>
        <pc:cxnChg chg="add del mod">
          <ac:chgData name="Kaan Aydin" userId="806ac4fb-eee5-4f85-962b-93e58f7d516c" providerId="ADAL" clId="{D060BC77-27F7-4805-9C05-418EFAFAD8FA}" dt="2023-05-19T00:30:09.893" v="5704" actId="478"/>
          <ac:cxnSpMkLst>
            <pc:docMk/>
            <pc:sldMk cId="2706460313" sldId="3202"/>
            <ac:cxnSpMk id="32" creationId="{4D6BE591-C2D3-4AFC-A4CD-1F5D97E7AD66}"/>
          </ac:cxnSpMkLst>
        </pc:cxnChg>
        <pc:cxnChg chg="add del mod">
          <ac:chgData name="Kaan Aydin" userId="806ac4fb-eee5-4f85-962b-93e58f7d516c" providerId="ADAL" clId="{D060BC77-27F7-4805-9C05-418EFAFAD8FA}" dt="2023-05-19T00:30:09.893" v="5704" actId="478"/>
          <ac:cxnSpMkLst>
            <pc:docMk/>
            <pc:sldMk cId="2706460313" sldId="3202"/>
            <ac:cxnSpMk id="33" creationId="{AD07F397-D434-4B46-8FD6-D454FD4DA9C6}"/>
          </ac:cxnSpMkLst>
        </pc:cxnChg>
      </pc:sldChg>
      <pc:sldChg chg="addSp">
        <pc:chgData name="Kaan Aydin" userId="806ac4fb-eee5-4f85-962b-93e58f7d516c" providerId="ADAL" clId="{D060BC77-27F7-4805-9C05-418EFAFAD8FA}" dt="2023-05-19T21:51:24.244" v="21717"/>
        <pc:sldMkLst>
          <pc:docMk/>
          <pc:sldMk cId="19961751" sldId="3203"/>
        </pc:sldMkLst>
        <pc:spChg chg="add">
          <ac:chgData name="Kaan Aydin" userId="806ac4fb-eee5-4f85-962b-93e58f7d516c" providerId="ADAL" clId="{D060BC77-27F7-4805-9C05-418EFAFAD8FA}" dt="2023-05-19T21:51:24.244" v="21717"/>
          <ac:spMkLst>
            <pc:docMk/>
            <pc:sldMk cId="19961751" sldId="3203"/>
            <ac:spMk id="17" creationId="{C9DA98F7-08D6-40DF-A24E-B77A1101C65E}"/>
          </ac:spMkLst>
        </pc:spChg>
      </pc:sldChg>
      <pc:sldChg chg="addSp modSp">
        <pc:chgData name="Kaan Aydin" userId="806ac4fb-eee5-4f85-962b-93e58f7d516c" providerId="ADAL" clId="{D060BC77-27F7-4805-9C05-418EFAFAD8FA}" dt="2023-05-19T21:51:22.512" v="21716" actId="20577"/>
        <pc:sldMkLst>
          <pc:docMk/>
          <pc:sldMk cId="758632499" sldId="3204"/>
        </pc:sldMkLst>
        <pc:spChg chg="mod">
          <ac:chgData name="Kaan Aydin" userId="806ac4fb-eee5-4f85-962b-93e58f7d516c" providerId="ADAL" clId="{D060BC77-27F7-4805-9C05-418EFAFAD8FA}" dt="2023-05-18T13:47:04.635" v="441" actId="14100"/>
          <ac:spMkLst>
            <pc:docMk/>
            <pc:sldMk cId="758632499" sldId="3204"/>
            <ac:spMk id="3" creationId="{3A1D34F6-E4D9-4A35-F338-F5D066DE9005}"/>
          </ac:spMkLst>
        </pc:spChg>
        <pc:spChg chg="add mod">
          <ac:chgData name="Kaan Aydin" userId="806ac4fb-eee5-4f85-962b-93e58f7d516c" providerId="ADAL" clId="{D060BC77-27F7-4805-9C05-418EFAFAD8FA}" dt="2023-05-19T21:51:22.512" v="21716" actId="20577"/>
          <ac:spMkLst>
            <pc:docMk/>
            <pc:sldMk cId="758632499" sldId="3204"/>
            <ac:spMk id="31" creationId="{4EAFF3CF-E22F-4B05-AB78-32C5EFE64185}"/>
          </ac:spMkLst>
        </pc:spChg>
      </pc:sldChg>
      <pc:sldChg chg="addSp delSp modSp add">
        <pc:chgData name="Kaan Aydin" userId="806ac4fb-eee5-4f85-962b-93e58f7d516c" providerId="ADAL" clId="{D060BC77-27F7-4805-9C05-418EFAFAD8FA}" dt="2023-05-19T21:51:33.798" v="21728"/>
        <pc:sldMkLst>
          <pc:docMk/>
          <pc:sldMk cId="641653763" sldId="3205"/>
        </pc:sldMkLst>
        <pc:spChg chg="mod">
          <ac:chgData name="Kaan Aydin" userId="806ac4fb-eee5-4f85-962b-93e58f7d516c" providerId="ADAL" clId="{D060BC77-27F7-4805-9C05-418EFAFAD8FA}" dt="2023-05-18T14:14:00.548" v="1345" actId="948"/>
          <ac:spMkLst>
            <pc:docMk/>
            <pc:sldMk cId="641653763" sldId="3205"/>
            <ac:spMk id="2" creationId="{F8470236-B875-4453-8469-1E0FE2832721}"/>
          </ac:spMkLst>
        </pc:spChg>
        <pc:spChg chg="del">
          <ac:chgData name="Kaan Aydin" userId="806ac4fb-eee5-4f85-962b-93e58f7d516c" providerId="ADAL" clId="{D060BC77-27F7-4805-9C05-418EFAFAD8FA}" dt="2023-05-19T00:27:23.100" v="5465" actId="478"/>
          <ac:spMkLst>
            <pc:docMk/>
            <pc:sldMk cId="641653763" sldId="3205"/>
            <ac:spMk id="3" creationId="{1C4D280B-1A5E-4BD3-B5ED-7AEED881AF0D}"/>
          </ac:spMkLst>
        </pc:spChg>
        <pc:spChg chg="add del mod">
          <ac:chgData name="Kaan Aydin" userId="806ac4fb-eee5-4f85-962b-93e58f7d516c" providerId="ADAL" clId="{D060BC77-27F7-4805-9C05-418EFAFAD8FA}" dt="2023-05-19T00:48:31.132" v="6848" actId="478"/>
          <ac:spMkLst>
            <pc:docMk/>
            <pc:sldMk cId="641653763" sldId="3205"/>
            <ac:spMk id="7" creationId="{5B3611F5-893A-4B00-9345-D24341C57BE0}"/>
          </ac:spMkLst>
        </pc:spChg>
        <pc:spChg chg="add mod">
          <ac:chgData name="Kaan Aydin" userId="806ac4fb-eee5-4f85-962b-93e58f7d516c" providerId="ADAL" clId="{D060BC77-27F7-4805-9C05-418EFAFAD8FA}" dt="2023-05-19T00:56:05.676" v="7241" actId="1076"/>
          <ac:spMkLst>
            <pc:docMk/>
            <pc:sldMk cId="641653763" sldId="3205"/>
            <ac:spMk id="8" creationId="{B572BE85-79FB-487C-89F0-218DD1272BA5}"/>
          </ac:spMkLst>
        </pc:spChg>
        <pc:spChg chg="add mod">
          <ac:chgData name="Kaan Aydin" userId="806ac4fb-eee5-4f85-962b-93e58f7d516c" providerId="ADAL" clId="{D060BC77-27F7-4805-9C05-418EFAFAD8FA}" dt="2023-05-19T00:56:05.676" v="7241" actId="1076"/>
          <ac:spMkLst>
            <pc:docMk/>
            <pc:sldMk cId="641653763" sldId="3205"/>
            <ac:spMk id="9" creationId="{D04CBF3A-496E-49F7-9234-1F6EDC84FB60}"/>
          </ac:spMkLst>
        </pc:spChg>
        <pc:spChg chg="add mod">
          <ac:chgData name="Kaan Aydin" userId="806ac4fb-eee5-4f85-962b-93e58f7d516c" providerId="ADAL" clId="{D060BC77-27F7-4805-9C05-418EFAFAD8FA}" dt="2023-05-19T00:56:05.676" v="7241" actId="1076"/>
          <ac:spMkLst>
            <pc:docMk/>
            <pc:sldMk cId="641653763" sldId="3205"/>
            <ac:spMk id="10" creationId="{C510BE83-6BEC-40BF-A83E-A7C105B88C71}"/>
          </ac:spMkLst>
        </pc:spChg>
        <pc:spChg chg="add mod">
          <ac:chgData name="Kaan Aydin" userId="806ac4fb-eee5-4f85-962b-93e58f7d516c" providerId="ADAL" clId="{D060BC77-27F7-4805-9C05-418EFAFAD8FA}" dt="2023-05-19T00:56:05.676" v="7241" actId="1076"/>
          <ac:spMkLst>
            <pc:docMk/>
            <pc:sldMk cId="641653763" sldId="3205"/>
            <ac:spMk id="11" creationId="{01729631-A951-4CF7-A99B-50EEED8F61B6}"/>
          </ac:spMkLst>
        </pc:spChg>
        <pc:spChg chg="add mod">
          <ac:chgData name="Kaan Aydin" userId="806ac4fb-eee5-4f85-962b-93e58f7d516c" providerId="ADAL" clId="{D060BC77-27F7-4805-9C05-418EFAFAD8FA}" dt="2023-05-19T00:56:05.676" v="7241" actId="1076"/>
          <ac:spMkLst>
            <pc:docMk/>
            <pc:sldMk cId="641653763" sldId="3205"/>
            <ac:spMk id="12" creationId="{7E81E8CD-184D-4A0C-8475-EA5357E643AD}"/>
          </ac:spMkLst>
        </pc:spChg>
        <pc:spChg chg="add mod">
          <ac:chgData name="Kaan Aydin" userId="806ac4fb-eee5-4f85-962b-93e58f7d516c" providerId="ADAL" clId="{D060BC77-27F7-4805-9C05-418EFAFAD8FA}" dt="2023-05-19T00:56:05.676" v="7241" actId="1076"/>
          <ac:spMkLst>
            <pc:docMk/>
            <pc:sldMk cId="641653763" sldId="3205"/>
            <ac:spMk id="13" creationId="{FC549DC3-0E68-4BBF-B485-95BFC93ADD85}"/>
          </ac:spMkLst>
        </pc:spChg>
        <pc:spChg chg="add mod">
          <ac:chgData name="Kaan Aydin" userId="806ac4fb-eee5-4f85-962b-93e58f7d516c" providerId="ADAL" clId="{D060BC77-27F7-4805-9C05-418EFAFAD8FA}" dt="2023-05-19T00:56:05.676" v="7241" actId="1076"/>
          <ac:spMkLst>
            <pc:docMk/>
            <pc:sldMk cId="641653763" sldId="3205"/>
            <ac:spMk id="14" creationId="{FE69B946-8F3E-4CD1-9B6E-B015C009D43C}"/>
          </ac:spMkLst>
        </pc:spChg>
        <pc:spChg chg="add mod">
          <ac:chgData name="Kaan Aydin" userId="806ac4fb-eee5-4f85-962b-93e58f7d516c" providerId="ADAL" clId="{D060BC77-27F7-4805-9C05-418EFAFAD8FA}" dt="2023-05-19T00:56:05.676" v="7241" actId="1076"/>
          <ac:spMkLst>
            <pc:docMk/>
            <pc:sldMk cId="641653763" sldId="3205"/>
            <ac:spMk id="15" creationId="{954E8EA2-374A-4A46-8DD1-974F701D2E0E}"/>
          </ac:spMkLst>
        </pc:spChg>
        <pc:spChg chg="add mod">
          <ac:chgData name="Kaan Aydin" userId="806ac4fb-eee5-4f85-962b-93e58f7d516c" providerId="ADAL" clId="{D060BC77-27F7-4805-9C05-418EFAFAD8FA}" dt="2023-05-19T00:56:05.676" v="7241" actId="1076"/>
          <ac:spMkLst>
            <pc:docMk/>
            <pc:sldMk cId="641653763" sldId="3205"/>
            <ac:spMk id="16" creationId="{6C4A349D-326D-4B6D-9D85-BAE5027507A1}"/>
          </ac:spMkLst>
        </pc:spChg>
        <pc:spChg chg="add mod">
          <ac:chgData name="Kaan Aydin" userId="806ac4fb-eee5-4f85-962b-93e58f7d516c" providerId="ADAL" clId="{D060BC77-27F7-4805-9C05-418EFAFAD8FA}" dt="2023-05-19T00:56:05.676" v="7241" actId="1076"/>
          <ac:spMkLst>
            <pc:docMk/>
            <pc:sldMk cId="641653763" sldId="3205"/>
            <ac:spMk id="17" creationId="{75488B01-BB8B-4A17-BE67-033413E31BFA}"/>
          </ac:spMkLst>
        </pc:spChg>
        <pc:spChg chg="add mod">
          <ac:chgData name="Kaan Aydin" userId="806ac4fb-eee5-4f85-962b-93e58f7d516c" providerId="ADAL" clId="{D060BC77-27F7-4805-9C05-418EFAFAD8FA}" dt="2023-05-19T00:56:05.676" v="7241" actId="1076"/>
          <ac:spMkLst>
            <pc:docMk/>
            <pc:sldMk cId="641653763" sldId="3205"/>
            <ac:spMk id="18" creationId="{046B607F-C9C8-470A-A17B-31C4A09E7A7E}"/>
          </ac:spMkLst>
        </pc:spChg>
        <pc:spChg chg="add mod">
          <ac:chgData name="Kaan Aydin" userId="806ac4fb-eee5-4f85-962b-93e58f7d516c" providerId="ADAL" clId="{D060BC77-27F7-4805-9C05-418EFAFAD8FA}" dt="2023-05-19T00:56:05.676" v="7241" actId="1076"/>
          <ac:spMkLst>
            <pc:docMk/>
            <pc:sldMk cId="641653763" sldId="3205"/>
            <ac:spMk id="19" creationId="{2365B9CE-C52A-4A70-B031-8BC883446E35}"/>
          </ac:spMkLst>
        </pc:spChg>
        <pc:spChg chg="add mod">
          <ac:chgData name="Kaan Aydin" userId="806ac4fb-eee5-4f85-962b-93e58f7d516c" providerId="ADAL" clId="{D060BC77-27F7-4805-9C05-418EFAFAD8FA}" dt="2023-05-19T00:56:05.676" v="7241" actId="1076"/>
          <ac:spMkLst>
            <pc:docMk/>
            <pc:sldMk cId="641653763" sldId="3205"/>
            <ac:spMk id="20" creationId="{B4304155-3969-42ED-B776-A10C5125C953}"/>
          </ac:spMkLst>
        </pc:spChg>
        <pc:spChg chg="add mod">
          <ac:chgData name="Kaan Aydin" userId="806ac4fb-eee5-4f85-962b-93e58f7d516c" providerId="ADAL" clId="{D060BC77-27F7-4805-9C05-418EFAFAD8FA}" dt="2023-05-19T00:56:05.676" v="7241" actId="1076"/>
          <ac:spMkLst>
            <pc:docMk/>
            <pc:sldMk cId="641653763" sldId="3205"/>
            <ac:spMk id="21" creationId="{154A4CFE-DDD9-40C1-839A-0255C461E215}"/>
          </ac:spMkLst>
        </pc:spChg>
        <pc:spChg chg="add mod">
          <ac:chgData name="Kaan Aydin" userId="806ac4fb-eee5-4f85-962b-93e58f7d516c" providerId="ADAL" clId="{D060BC77-27F7-4805-9C05-418EFAFAD8FA}" dt="2023-05-19T00:56:05.676" v="7241" actId="1076"/>
          <ac:spMkLst>
            <pc:docMk/>
            <pc:sldMk cId="641653763" sldId="3205"/>
            <ac:spMk id="22" creationId="{C8CB5717-3662-4B39-8026-07394771550D}"/>
          </ac:spMkLst>
        </pc:spChg>
        <pc:spChg chg="add del">
          <ac:chgData name="Kaan Aydin" userId="806ac4fb-eee5-4f85-962b-93e58f7d516c" providerId="ADAL" clId="{D060BC77-27F7-4805-9C05-418EFAFAD8FA}" dt="2023-05-19T00:42:32.722" v="6675" actId="478"/>
          <ac:spMkLst>
            <pc:docMk/>
            <pc:sldMk cId="641653763" sldId="3205"/>
            <ac:spMk id="23" creationId="{1CB9CC77-B1B3-4207-8E7E-4082B2020F94}"/>
          </ac:spMkLst>
        </pc:spChg>
        <pc:spChg chg="add del">
          <ac:chgData name="Kaan Aydin" userId="806ac4fb-eee5-4f85-962b-93e58f7d516c" providerId="ADAL" clId="{D060BC77-27F7-4805-9C05-418EFAFAD8FA}" dt="2023-05-19T00:43:14.730" v="6753" actId="478"/>
          <ac:spMkLst>
            <pc:docMk/>
            <pc:sldMk cId="641653763" sldId="3205"/>
            <ac:spMk id="24" creationId="{FD2C6829-4E0A-4CE2-93A7-4103835E664B}"/>
          </ac:spMkLst>
        </pc:spChg>
        <pc:spChg chg="add del">
          <ac:chgData name="Kaan Aydin" userId="806ac4fb-eee5-4f85-962b-93e58f7d516c" providerId="ADAL" clId="{D060BC77-27F7-4805-9C05-418EFAFAD8FA}" dt="2023-05-19T00:43:14.730" v="6753" actId="478"/>
          <ac:spMkLst>
            <pc:docMk/>
            <pc:sldMk cId="641653763" sldId="3205"/>
            <ac:spMk id="25" creationId="{C7E06294-72DA-419A-9AB7-7A3A24D06B82}"/>
          </ac:spMkLst>
        </pc:spChg>
        <pc:spChg chg="add del">
          <ac:chgData name="Kaan Aydin" userId="806ac4fb-eee5-4f85-962b-93e58f7d516c" providerId="ADAL" clId="{D060BC77-27F7-4805-9C05-418EFAFAD8FA}" dt="2023-05-19T00:43:14.730" v="6753" actId="478"/>
          <ac:spMkLst>
            <pc:docMk/>
            <pc:sldMk cId="641653763" sldId="3205"/>
            <ac:spMk id="26" creationId="{E8917620-1842-41C8-AC77-027B09BD71F3}"/>
          </ac:spMkLst>
        </pc:spChg>
        <pc:spChg chg="add del">
          <ac:chgData name="Kaan Aydin" userId="806ac4fb-eee5-4f85-962b-93e58f7d516c" providerId="ADAL" clId="{D060BC77-27F7-4805-9C05-418EFAFAD8FA}" dt="2023-05-19T00:43:14.730" v="6753" actId="478"/>
          <ac:spMkLst>
            <pc:docMk/>
            <pc:sldMk cId="641653763" sldId="3205"/>
            <ac:spMk id="27" creationId="{C9E024C4-0FDE-4153-9464-854FBC3923ED}"/>
          </ac:spMkLst>
        </pc:spChg>
        <pc:spChg chg="add">
          <ac:chgData name="Kaan Aydin" userId="806ac4fb-eee5-4f85-962b-93e58f7d516c" providerId="ADAL" clId="{D060BC77-27F7-4805-9C05-418EFAFAD8FA}" dt="2023-05-19T21:51:33.798" v="21728"/>
          <ac:spMkLst>
            <pc:docMk/>
            <pc:sldMk cId="641653763" sldId="3205"/>
            <ac:spMk id="31" creationId="{EBADFA29-A9F9-464D-BC5A-D5C39FD6F61A}"/>
          </ac:spMkLst>
        </pc:spChg>
        <pc:spChg chg="add del mod">
          <ac:chgData name="Kaan Aydin" userId="806ac4fb-eee5-4f85-962b-93e58f7d516c" providerId="ADAL" clId="{D060BC77-27F7-4805-9C05-418EFAFAD8FA}" dt="2023-05-19T00:55:55.662" v="7239" actId="478"/>
          <ac:spMkLst>
            <pc:docMk/>
            <pc:sldMk cId="641653763" sldId="3205"/>
            <ac:spMk id="33" creationId="{2EA6DBC7-368B-4E5B-9184-24FB7AAD8B3C}"/>
          </ac:spMkLst>
        </pc:spChg>
        <pc:graphicFrameChg chg="add mod ord">
          <ac:chgData name="Kaan Aydin" userId="806ac4fb-eee5-4f85-962b-93e58f7d516c" providerId="ADAL" clId="{D060BC77-27F7-4805-9C05-418EFAFAD8FA}" dt="2023-05-18T14:14:00.631" v="1358"/>
          <ac:graphicFrameMkLst>
            <pc:docMk/>
            <pc:sldMk cId="641653763" sldId="3205"/>
            <ac:graphicFrameMk id="6" creationId="{996EA67C-C529-4A75-9010-031ADB77E986}"/>
          </ac:graphicFrameMkLst>
        </pc:graphicFrameChg>
        <pc:picChg chg="add del">
          <ac:chgData name="Kaan Aydin" userId="806ac4fb-eee5-4f85-962b-93e58f7d516c" providerId="ADAL" clId="{D060BC77-27F7-4805-9C05-418EFAFAD8FA}" dt="2023-05-19T00:43:42.292" v="6825" actId="478"/>
          <ac:picMkLst>
            <pc:docMk/>
            <pc:sldMk cId="641653763" sldId="3205"/>
            <ac:picMk id="28" creationId="{F1E56363-1E8F-4412-9A75-2B871BEF2FE3}"/>
          </ac:picMkLst>
        </pc:picChg>
        <pc:picChg chg="add del">
          <ac:chgData name="Kaan Aydin" userId="806ac4fb-eee5-4f85-962b-93e58f7d516c" providerId="ADAL" clId="{D060BC77-27F7-4805-9C05-418EFAFAD8FA}" dt="2023-05-19T00:43:42.292" v="6825" actId="478"/>
          <ac:picMkLst>
            <pc:docMk/>
            <pc:sldMk cId="641653763" sldId="3205"/>
            <ac:picMk id="29" creationId="{87B4E934-09DA-4055-8035-C0421F009A26}"/>
          </ac:picMkLst>
        </pc:picChg>
        <pc:picChg chg="add del">
          <ac:chgData name="Kaan Aydin" userId="806ac4fb-eee5-4f85-962b-93e58f7d516c" providerId="ADAL" clId="{D060BC77-27F7-4805-9C05-418EFAFAD8FA}" dt="2023-05-19T00:43:42.292" v="6825" actId="478"/>
          <ac:picMkLst>
            <pc:docMk/>
            <pc:sldMk cId="641653763" sldId="3205"/>
            <ac:picMk id="30" creationId="{DAF45B2A-CAC8-43BC-9348-5B06CD62BF72}"/>
          </ac:picMkLst>
        </pc:picChg>
        <pc:picChg chg="add del">
          <ac:chgData name="Kaan Aydin" userId="806ac4fb-eee5-4f85-962b-93e58f7d516c" providerId="ADAL" clId="{D060BC77-27F7-4805-9C05-418EFAFAD8FA}" dt="2023-05-19T00:43:42.292" v="6825" actId="478"/>
          <ac:picMkLst>
            <pc:docMk/>
            <pc:sldMk cId="641653763" sldId="3205"/>
            <ac:picMk id="31" creationId="{316061DF-33C0-4329-A5E5-4BD2D2A5C5C7}"/>
          </ac:picMkLst>
        </pc:picChg>
        <pc:picChg chg="add del">
          <ac:chgData name="Kaan Aydin" userId="806ac4fb-eee5-4f85-962b-93e58f7d516c" providerId="ADAL" clId="{D060BC77-27F7-4805-9C05-418EFAFAD8FA}" dt="2023-05-19T00:43:42.292" v="6825" actId="478"/>
          <ac:picMkLst>
            <pc:docMk/>
            <pc:sldMk cId="641653763" sldId="3205"/>
            <ac:picMk id="32" creationId="{68841C8A-9BCB-482A-9654-C127733DB255}"/>
          </ac:picMkLst>
        </pc:picChg>
        <pc:picChg chg="add mod">
          <ac:chgData name="Kaan Aydin" userId="806ac4fb-eee5-4f85-962b-93e58f7d516c" providerId="ADAL" clId="{D060BC77-27F7-4805-9C05-418EFAFAD8FA}" dt="2023-05-19T00:56:05.676" v="7241" actId="1076"/>
          <ac:picMkLst>
            <pc:docMk/>
            <pc:sldMk cId="641653763" sldId="3205"/>
            <ac:picMk id="35" creationId="{86278CE0-05C7-4D95-BD9E-A28227B910C2}"/>
          </ac:picMkLst>
        </pc:picChg>
        <pc:picChg chg="add mod">
          <ac:chgData name="Kaan Aydin" userId="806ac4fb-eee5-4f85-962b-93e58f7d516c" providerId="ADAL" clId="{D060BC77-27F7-4805-9C05-418EFAFAD8FA}" dt="2023-05-19T00:56:05.676" v="7241" actId="1076"/>
          <ac:picMkLst>
            <pc:docMk/>
            <pc:sldMk cId="641653763" sldId="3205"/>
            <ac:picMk id="37" creationId="{36A3BDED-6A56-4FC7-9DD5-A95FB85049A8}"/>
          </ac:picMkLst>
        </pc:picChg>
        <pc:picChg chg="add mod">
          <ac:chgData name="Kaan Aydin" userId="806ac4fb-eee5-4f85-962b-93e58f7d516c" providerId="ADAL" clId="{D060BC77-27F7-4805-9C05-418EFAFAD8FA}" dt="2023-05-19T00:56:05.676" v="7241" actId="1076"/>
          <ac:picMkLst>
            <pc:docMk/>
            <pc:sldMk cId="641653763" sldId="3205"/>
            <ac:picMk id="44" creationId="{C698DE76-1BB8-4E14-902B-03DC3002E2A7}"/>
          </ac:picMkLst>
        </pc:picChg>
        <pc:picChg chg="add mod">
          <ac:chgData name="Kaan Aydin" userId="806ac4fb-eee5-4f85-962b-93e58f7d516c" providerId="ADAL" clId="{D060BC77-27F7-4805-9C05-418EFAFAD8FA}" dt="2023-05-19T00:56:05.676" v="7241" actId="1076"/>
          <ac:picMkLst>
            <pc:docMk/>
            <pc:sldMk cId="641653763" sldId="3205"/>
            <ac:picMk id="46" creationId="{4E473E8B-441C-40CA-92B0-8F5C46B9D2F7}"/>
          </ac:picMkLst>
        </pc:picChg>
        <pc:picChg chg="add mod">
          <ac:chgData name="Kaan Aydin" userId="806ac4fb-eee5-4f85-962b-93e58f7d516c" providerId="ADAL" clId="{D060BC77-27F7-4805-9C05-418EFAFAD8FA}" dt="2023-05-19T00:56:05.676" v="7241" actId="1076"/>
          <ac:picMkLst>
            <pc:docMk/>
            <pc:sldMk cId="641653763" sldId="3205"/>
            <ac:picMk id="48" creationId="{2BA6DA9C-A70F-4688-A96F-C4D428EE5E01}"/>
          </ac:picMkLst>
        </pc:picChg>
        <pc:cxnChg chg="add mod">
          <ac:chgData name="Kaan Aydin" userId="806ac4fb-eee5-4f85-962b-93e58f7d516c" providerId="ADAL" clId="{D060BC77-27F7-4805-9C05-418EFAFAD8FA}" dt="2023-05-19T00:56:05.676" v="7241" actId="1076"/>
          <ac:cxnSpMkLst>
            <pc:docMk/>
            <pc:sldMk cId="641653763" sldId="3205"/>
            <ac:cxnSpMk id="38" creationId="{2D97DA14-B5AB-4C1D-971B-2902B1B8065F}"/>
          </ac:cxnSpMkLst>
        </pc:cxnChg>
        <pc:cxnChg chg="add mod">
          <ac:chgData name="Kaan Aydin" userId="806ac4fb-eee5-4f85-962b-93e58f7d516c" providerId="ADAL" clId="{D060BC77-27F7-4805-9C05-418EFAFAD8FA}" dt="2023-05-19T00:56:05.676" v="7241" actId="1076"/>
          <ac:cxnSpMkLst>
            <pc:docMk/>
            <pc:sldMk cId="641653763" sldId="3205"/>
            <ac:cxnSpMk id="39" creationId="{92A5694F-5DC9-4528-BC9A-CE2A0BEB00CF}"/>
          </ac:cxnSpMkLst>
        </pc:cxnChg>
        <pc:cxnChg chg="add mod">
          <ac:chgData name="Kaan Aydin" userId="806ac4fb-eee5-4f85-962b-93e58f7d516c" providerId="ADAL" clId="{D060BC77-27F7-4805-9C05-418EFAFAD8FA}" dt="2023-05-19T00:56:05.676" v="7241" actId="1076"/>
          <ac:cxnSpMkLst>
            <pc:docMk/>
            <pc:sldMk cId="641653763" sldId="3205"/>
            <ac:cxnSpMk id="40" creationId="{A990A099-768E-44A5-AE92-6245C681DE22}"/>
          </ac:cxnSpMkLst>
        </pc:cxnChg>
        <pc:cxnChg chg="add mod">
          <ac:chgData name="Kaan Aydin" userId="806ac4fb-eee5-4f85-962b-93e58f7d516c" providerId="ADAL" clId="{D060BC77-27F7-4805-9C05-418EFAFAD8FA}" dt="2023-05-19T00:56:05.676" v="7241" actId="1076"/>
          <ac:cxnSpMkLst>
            <pc:docMk/>
            <pc:sldMk cId="641653763" sldId="3205"/>
            <ac:cxnSpMk id="41" creationId="{713C54A2-9FFA-48B5-B3F0-1543CE33694E}"/>
          </ac:cxnSpMkLst>
        </pc:cxnChg>
        <pc:cxnChg chg="add mod">
          <ac:chgData name="Kaan Aydin" userId="806ac4fb-eee5-4f85-962b-93e58f7d516c" providerId="ADAL" clId="{D060BC77-27F7-4805-9C05-418EFAFAD8FA}" dt="2023-05-19T00:56:05.676" v="7241" actId="1076"/>
          <ac:cxnSpMkLst>
            <pc:docMk/>
            <pc:sldMk cId="641653763" sldId="3205"/>
            <ac:cxnSpMk id="42" creationId="{6CBD2275-5223-499C-ADCB-06E309CA3FBA}"/>
          </ac:cxnSpMkLst>
        </pc:cxnChg>
      </pc:sldChg>
      <pc:sldChg chg="addSp delSp modSp add modAnim">
        <pc:chgData name="Kaan Aydin" userId="806ac4fb-eee5-4f85-962b-93e58f7d516c" providerId="ADAL" clId="{D060BC77-27F7-4805-9C05-418EFAFAD8FA}" dt="2023-05-19T21:57:58.337" v="22326" actId="948"/>
        <pc:sldMkLst>
          <pc:docMk/>
          <pc:sldMk cId="2490957990" sldId="3206"/>
        </pc:sldMkLst>
        <pc:spChg chg="mod ord">
          <ac:chgData name="Kaan Aydin" userId="806ac4fb-eee5-4f85-962b-93e58f7d516c" providerId="ADAL" clId="{D060BC77-27F7-4805-9C05-418EFAFAD8FA}" dt="2023-05-19T00:15:28.474" v="3552" actId="948"/>
          <ac:spMkLst>
            <pc:docMk/>
            <pc:sldMk cId="2490957990" sldId="3206"/>
            <ac:spMk id="2" creationId="{B379B606-C08D-4E91-AC28-6C6C79534332}"/>
          </ac:spMkLst>
        </pc:spChg>
        <pc:spChg chg="del">
          <ac:chgData name="Kaan Aydin" userId="806ac4fb-eee5-4f85-962b-93e58f7d516c" providerId="ADAL" clId="{D060BC77-27F7-4805-9C05-418EFAFAD8FA}" dt="2023-05-18T23:56:30.107" v="1912" actId="478"/>
          <ac:spMkLst>
            <pc:docMk/>
            <pc:sldMk cId="2490957990" sldId="3206"/>
            <ac:spMk id="3" creationId="{07032324-598B-443F-86A7-1FCE9A758132}"/>
          </ac:spMkLst>
        </pc:spChg>
        <pc:spChg chg="mod ord">
          <ac:chgData name="Kaan Aydin" userId="806ac4fb-eee5-4f85-962b-93e58f7d516c" providerId="ADAL" clId="{D060BC77-27F7-4805-9C05-418EFAFAD8FA}" dt="2023-05-19T00:13:44.942" v="3365"/>
          <ac:spMkLst>
            <pc:docMk/>
            <pc:sldMk cId="2490957990" sldId="3206"/>
            <ac:spMk id="4" creationId="{42AFDF4A-9471-472C-8C75-724F072D08EF}"/>
          </ac:spMkLst>
        </pc:spChg>
        <pc:spChg chg="mod ord">
          <ac:chgData name="Kaan Aydin" userId="806ac4fb-eee5-4f85-962b-93e58f7d516c" providerId="ADAL" clId="{D060BC77-27F7-4805-9C05-418EFAFAD8FA}" dt="2023-05-19T00:13:44.943" v="3367"/>
          <ac:spMkLst>
            <pc:docMk/>
            <pc:sldMk cId="2490957990" sldId="3206"/>
            <ac:spMk id="5" creationId="{D99A21C6-B5C5-4432-8345-B2C96D930FA1}"/>
          </ac:spMkLst>
        </pc:spChg>
        <pc:spChg chg="add del mod">
          <ac:chgData name="Kaan Aydin" userId="806ac4fb-eee5-4f85-962b-93e58f7d516c" providerId="ADAL" clId="{D060BC77-27F7-4805-9C05-418EFAFAD8FA}" dt="2023-05-18T23:56:24.840" v="1897"/>
          <ac:spMkLst>
            <pc:docMk/>
            <pc:sldMk cId="2490957990" sldId="3206"/>
            <ac:spMk id="6" creationId="{DDABDA7E-8453-43FE-BBDB-97AD3EBD755B}"/>
          </ac:spMkLst>
        </pc:spChg>
        <pc:spChg chg="add mod">
          <ac:chgData name="Kaan Aydin" userId="806ac4fb-eee5-4f85-962b-93e58f7d516c" providerId="ADAL" clId="{D060BC77-27F7-4805-9C05-418EFAFAD8FA}" dt="2023-05-19T00:31:43.378" v="5710" actId="2711"/>
          <ac:spMkLst>
            <pc:docMk/>
            <pc:sldMk cId="2490957990" sldId="3206"/>
            <ac:spMk id="9" creationId="{209749B9-825F-489E-AACF-4F854B17ADD3}"/>
          </ac:spMkLst>
        </pc:spChg>
        <pc:spChg chg="add mod ord">
          <ac:chgData name="Kaan Aydin" userId="806ac4fb-eee5-4f85-962b-93e58f7d516c" providerId="ADAL" clId="{D060BC77-27F7-4805-9C05-418EFAFAD8FA}" dt="2023-05-19T21:57:58.337" v="22326" actId="948"/>
          <ac:spMkLst>
            <pc:docMk/>
            <pc:sldMk cId="2490957990" sldId="3206"/>
            <ac:spMk id="12" creationId="{825F0ADF-2570-48DD-AF83-B0BBCE90640D}"/>
          </ac:spMkLst>
        </pc:spChg>
        <pc:spChg chg="add mod">
          <ac:chgData name="Kaan Aydin" userId="806ac4fb-eee5-4f85-962b-93e58f7d516c" providerId="ADAL" clId="{D060BC77-27F7-4805-9C05-418EFAFAD8FA}" dt="2023-05-19T00:31:43.378" v="5710" actId="2711"/>
          <ac:spMkLst>
            <pc:docMk/>
            <pc:sldMk cId="2490957990" sldId="3206"/>
            <ac:spMk id="13" creationId="{2E869459-5BCA-4D6F-821E-54853CE34E0D}"/>
          </ac:spMkLst>
        </pc:spChg>
        <pc:spChg chg="add mod">
          <ac:chgData name="Kaan Aydin" userId="806ac4fb-eee5-4f85-962b-93e58f7d516c" providerId="ADAL" clId="{D060BC77-27F7-4805-9C05-418EFAFAD8FA}" dt="2023-05-19T00:31:43.378" v="5710" actId="2711"/>
          <ac:spMkLst>
            <pc:docMk/>
            <pc:sldMk cId="2490957990" sldId="3206"/>
            <ac:spMk id="14" creationId="{EF8B6F10-1B51-473E-B6F5-3C04F08236D8}"/>
          </ac:spMkLst>
        </pc:spChg>
        <pc:spChg chg="add mod">
          <ac:chgData name="Kaan Aydin" userId="806ac4fb-eee5-4f85-962b-93e58f7d516c" providerId="ADAL" clId="{D060BC77-27F7-4805-9C05-418EFAFAD8FA}" dt="2023-05-19T00:31:43.378" v="5710" actId="2711"/>
          <ac:spMkLst>
            <pc:docMk/>
            <pc:sldMk cId="2490957990" sldId="3206"/>
            <ac:spMk id="15" creationId="{0431BAAA-38AC-4279-9639-C8B131D6EADA}"/>
          </ac:spMkLst>
        </pc:spChg>
        <pc:spChg chg="add mod">
          <ac:chgData name="Kaan Aydin" userId="806ac4fb-eee5-4f85-962b-93e58f7d516c" providerId="ADAL" clId="{D060BC77-27F7-4805-9C05-418EFAFAD8FA}" dt="2023-05-19T00:31:43.378" v="5710" actId="2711"/>
          <ac:spMkLst>
            <pc:docMk/>
            <pc:sldMk cId="2490957990" sldId="3206"/>
            <ac:spMk id="16" creationId="{AC28A8F9-1888-4860-B09E-F737A6C83147}"/>
          </ac:spMkLst>
        </pc:spChg>
        <pc:spChg chg="add mod">
          <ac:chgData name="Kaan Aydin" userId="806ac4fb-eee5-4f85-962b-93e58f7d516c" providerId="ADAL" clId="{D060BC77-27F7-4805-9C05-418EFAFAD8FA}" dt="2023-05-19T00:31:43.378" v="5710" actId="2711"/>
          <ac:spMkLst>
            <pc:docMk/>
            <pc:sldMk cId="2490957990" sldId="3206"/>
            <ac:spMk id="17" creationId="{C17404F9-7650-4FDF-9C3A-8B8EA1BB879C}"/>
          </ac:spMkLst>
        </pc:spChg>
        <pc:spChg chg="add mod">
          <ac:chgData name="Kaan Aydin" userId="806ac4fb-eee5-4f85-962b-93e58f7d516c" providerId="ADAL" clId="{D060BC77-27F7-4805-9C05-418EFAFAD8FA}" dt="2023-05-19T00:31:43.378" v="5710" actId="2711"/>
          <ac:spMkLst>
            <pc:docMk/>
            <pc:sldMk cId="2490957990" sldId="3206"/>
            <ac:spMk id="18" creationId="{014C9180-A798-4526-AB95-466E026815B6}"/>
          </ac:spMkLst>
        </pc:spChg>
        <pc:spChg chg="add mod ord topLvl">
          <ac:chgData name="Kaan Aydin" userId="806ac4fb-eee5-4f85-962b-93e58f7d516c" providerId="ADAL" clId="{D060BC77-27F7-4805-9C05-418EFAFAD8FA}" dt="2023-05-19T21:49:36.015" v="21670" actId="164"/>
          <ac:spMkLst>
            <pc:docMk/>
            <pc:sldMk cId="2490957990" sldId="3206"/>
            <ac:spMk id="19" creationId="{168FFC64-994A-4107-8A01-2E0D3C1F8139}"/>
          </ac:spMkLst>
        </pc:spChg>
        <pc:spChg chg="add mod ord topLvl">
          <ac:chgData name="Kaan Aydin" userId="806ac4fb-eee5-4f85-962b-93e58f7d516c" providerId="ADAL" clId="{D060BC77-27F7-4805-9C05-418EFAFAD8FA}" dt="2023-05-19T21:49:32.219" v="21667" actId="165"/>
          <ac:spMkLst>
            <pc:docMk/>
            <pc:sldMk cId="2490957990" sldId="3206"/>
            <ac:spMk id="20" creationId="{8F925A16-94D0-4907-AA3F-B14965367F07}"/>
          </ac:spMkLst>
        </pc:spChg>
        <pc:spChg chg="mod">
          <ac:chgData name="Kaan Aydin" userId="806ac4fb-eee5-4f85-962b-93e58f7d516c" providerId="ADAL" clId="{D060BC77-27F7-4805-9C05-418EFAFAD8FA}" dt="2023-05-19T00:31:43.378" v="5710" actId="2711"/>
          <ac:spMkLst>
            <pc:docMk/>
            <pc:sldMk cId="2490957990" sldId="3206"/>
            <ac:spMk id="23" creationId="{2EDF352E-C558-46DB-8E50-D428AF812DA4}"/>
          </ac:spMkLst>
        </pc:spChg>
        <pc:spChg chg="mod">
          <ac:chgData name="Kaan Aydin" userId="806ac4fb-eee5-4f85-962b-93e58f7d516c" providerId="ADAL" clId="{D060BC77-27F7-4805-9C05-418EFAFAD8FA}" dt="2023-05-19T00:31:43.378" v="5710" actId="2711"/>
          <ac:spMkLst>
            <pc:docMk/>
            <pc:sldMk cId="2490957990" sldId="3206"/>
            <ac:spMk id="24" creationId="{15A4B0F4-26E2-46C7-B6C1-74BAE1605A92}"/>
          </ac:spMkLst>
        </pc:spChg>
        <pc:spChg chg="add del mod ord">
          <ac:chgData name="Kaan Aydin" userId="806ac4fb-eee5-4f85-962b-93e58f7d516c" providerId="ADAL" clId="{D060BC77-27F7-4805-9C05-418EFAFAD8FA}" dt="2023-05-19T00:15:11.146" v="3479" actId="478"/>
          <ac:spMkLst>
            <pc:docMk/>
            <pc:sldMk cId="2490957990" sldId="3206"/>
            <ac:spMk id="28" creationId="{8D1D7D32-44A6-4FC1-AEBA-744580835CD6}"/>
          </ac:spMkLst>
        </pc:spChg>
        <pc:spChg chg="add del mod">
          <ac:chgData name="Kaan Aydin" userId="806ac4fb-eee5-4f85-962b-93e58f7d516c" providerId="ADAL" clId="{D060BC77-27F7-4805-9C05-418EFAFAD8FA}" dt="2023-05-18T23:59:24.185" v="2015" actId="478"/>
          <ac:spMkLst>
            <pc:docMk/>
            <pc:sldMk cId="2490957990" sldId="3206"/>
            <ac:spMk id="29" creationId="{AF7DB909-6D80-4971-A01A-43B062CEF4AD}"/>
          </ac:spMkLst>
        </pc:spChg>
        <pc:spChg chg="add mod ord topLvl">
          <ac:chgData name="Kaan Aydin" userId="806ac4fb-eee5-4f85-962b-93e58f7d516c" providerId="ADAL" clId="{D060BC77-27F7-4805-9C05-418EFAFAD8FA}" dt="2023-05-19T21:49:36.015" v="21670" actId="164"/>
          <ac:spMkLst>
            <pc:docMk/>
            <pc:sldMk cId="2490957990" sldId="3206"/>
            <ac:spMk id="30" creationId="{F5D99C19-C517-4F4D-8ED5-E02251954D76}"/>
          </ac:spMkLst>
        </pc:spChg>
        <pc:spChg chg="add mod ord topLvl">
          <ac:chgData name="Kaan Aydin" userId="806ac4fb-eee5-4f85-962b-93e58f7d516c" providerId="ADAL" clId="{D060BC77-27F7-4805-9C05-418EFAFAD8FA}" dt="2023-05-19T21:49:34.015" v="21668" actId="165"/>
          <ac:spMkLst>
            <pc:docMk/>
            <pc:sldMk cId="2490957990" sldId="3206"/>
            <ac:spMk id="31" creationId="{EBDB9462-375D-4D78-8DDE-AC3E0CFFECDE}"/>
          </ac:spMkLst>
        </pc:spChg>
        <pc:spChg chg="add mod ord topLvl">
          <ac:chgData name="Kaan Aydin" userId="806ac4fb-eee5-4f85-962b-93e58f7d516c" providerId="ADAL" clId="{D060BC77-27F7-4805-9C05-418EFAFAD8FA}" dt="2023-05-19T21:49:36.015" v="21670" actId="164"/>
          <ac:spMkLst>
            <pc:docMk/>
            <pc:sldMk cId="2490957990" sldId="3206"/>
            <ac:spMk id="32" creationId="{2B29FAFB-2E6C-49B6-9F53-D6E436B66FE8}"/>
          </ac:spMkLst>
        </pc:spChg>
        <pc:spChg chg="add mod ord topLvl">
          <ac:chgData name="Kaan Aydin" userId="806ac4fb-eee5-4f85-962b-93e58f7d516c" providerId="ADAL" clId="{D060BC77-27F7-4805-9C05-418EFAFAD8FA}" dt="2023-05-19T21:49:34.811" v="21669" actId="165"/>
          <ac:spMkLst>
            <pc:docMk/>
            <pc:sldMk cId="2490957990" sldId="3206"/>
            <ac:spMk id="33" creationId="{9CED8209-3BC3-459E-8768-88D393E57EAB}"/>
          </ac:spMkLst>
        </pc:spChg>
        <pc:spChg chg="mod">
          <ac:chgData name="Kaan Aydin" userId="806ac4fb-eee5-4f85-962b-93e58f7d516c" providerId="ADAL" clId="{D060BC77-27F7-4805-9C05-418EFAFAD8FA}" dt="2023-05-19T00:31:43.378" v="5710" actId="2711"/>
          <ac:spMkLst>
            <pc:docMk/>
            <pc:sldMk cId="2490957990" sldId="3206"/>
            <ac:spMk id="36" creationId="{60B6834E-F325-4F69-A034-083D046B6F1B}"/>
          </ac:spMkLst>
        </pc:spChg>
        <pc:spChg chg="add mod ord topLvl">
          <ac:chgData name="Kaan Aydin" userId="806ac4fb-eee5-4f85-962b-93e58f7d516c" providerId="ADAL" clId="{D060BC77-27F7-4805-9C05-418EFAFAD8FA}" dt="2023-05-19T21:49:36.015" v="21670" actId="164"/>
          <ac:spMkLst>
            <pc:docMk/>
            <pc:sldMk cId="2490957990" sldId="3206"/>
            <ac:spMk id="42" creationId="{ACCF3FED-39AB-4815-B4D4-0F01D1840984}"/>
          </ac:spMkLst>
        </pc:spChg>
        <pc:spChg chg="add mod ord topLvl">
          <ac:chgData name="Kaan Aydin" userId="806ac4fb-eee5-4f85-962b-93e58f7d516c" providerId="ADAL" clId="{D060BC77-27F7-4805-9C05-418EFAFAD8FA}" dt="2023-05-19T21:52:56.396" v="21818" actId="20577"/>
          <ac:spMkLst>
            <pc:docMk/>
            <pc:sldMk cId="2490957990" sldId="3206"/>
            <ac:spMk id="43" creationId="{72567AA7-C18D-4B74-AC91-FFB09CBD20A5}"/>
          </ac:spMkLst>
        </pc:spChg>
        <pc:spChg chg="add del mod">
          <ac:chgData name="Kaan Aydin" userId="806ac4fb-eee5-4f85-962b-93e58f7d516c" providerId="ADAL" clId="{D060BC77-27F7-4805-9C05-418EFAFAD8FA}" dt="2023-05-19T00:15:28.488" v="3573"/>
          <ac:spMkLst>
            <pc:docMk/>
            <pc:sldMk cId="2490957990" sldId="3206"/>
            <ac:spMk id="45" creationId="{D1B7FB90-2EF4-48A1-97FA-2315183E9F23}"/>
          </ac:spMkLst>
        </pc:spChg>
        <pc:spChg chg="add mod">
          <ac:chgData name="Kaan Aydin" userId="806ac4fb-eee5-4f85-962b-93e58f7d516c" providerId="ADAL" clId="{D060BC77-27F7-4805-9C05-418EFAFAD8FA}" dt="2023-05-19T21:51:27.113" v="21722" actId="20577"/>
          <ac:spMkLst>
            <pc:docMk/>
            <pc:sldMk cId="2490957990" sldId="3206"/>
            <ac:spMk id="45" creationId="{DA17BBFA-388C-47E3-88BA-B3B54CEAAC01}"/>
          </ac:spMkLst>
        </pc:spChg>
        <pc:spChg chg="add del mod">
          <ac:chgData name="Kaan Aydin" userId="806ac4fb-eee5-4f85-962b-93e58f7d516c" providerId="ADAL" clId="{D060BC77-27F7-4805-9C05-418EFAFAD8FA}" dt="2023-05-19T00:20:16.476" v="4439"/>
          <ac:spMkLst>
            <pc:docMk/>
            <pc:sldMk cId="2490957990" sldId="3206"/>
            <ac:spMk id="46" creationId="{BA6E2326-148A-4CCF-A195-75C3ECA73B0C}"/>
          </ac:spMkLst>
        </pc:spChg>
        <pc:grpChg chg="add mod">
          <ac:chgData name="Kaan Aydin" userId="806ac4fb-eee5-4f85-962b-93e58f7d516c" providerId="ADAL" clId="{D060BC77-27F7-4805-9C05-418EFAFAD8FA}" dt="2023-05-19T21:49:19.473" v="21661" actId="164"/>
          <ac:grpSpMkLst>
            <pc:docMk/>
            <pc:sldMk cId="2490957990" sldId="3206"/>
            <ac:grpSpMk id="3" creationId="{87A23A4A-A6D9-4B21-958A-99336B0F99CA}"/>
          </ac:grpSpMkLst>
        </pc:grpChg>
        <pc:grpChg chg="add del mod">
          <ac:chgData name="Kaan Aydin" userId="806ac4fb-eee5-4f85-962b-93e58f7d516c" providerId="ADAL" clId="{D060BC77-27F7-4805-9C05-418EFAFAD8FA}" dt="2023-05-19T21:49:32.219" v="21667" actId="165"/>
          <ac:grpSpMkLst>
            <pc:docMk/>
            <pc:sldMk cId="2490957990" sldId="3206"/>
            <ac:grpSpMk id="6" creationId="{A4DBAE4D-6460-44EF-AE8F-2F3C2CEC297E}"/>
          </ac:grpSpMkLst>
        </pc:grpChg>
        <pc:grpChg chg="add mod ord topLvl">
          <ac:chgData name="Kaan Aydin" userId="806ac4fb-eee5-4f85-962b-93e58f7d516c" providerId="ADAL" clId="{D060BC77-27F7-4805-9C05-418EFAFAD8FA}" dt="2023-05-19T21:49:19.473" v="21661" actId="164"/>
          <ac:grpSpMkLst>
            <pc:docMk/>
            <pc:sldMk cId="2490957990" sldId="3206"/>
            <ac:grpSpMk id="11" creationId="{016AE315-D3FF-4A19-B168-E7665B2846EF}"/>
          </ac:grpSpMkLst>
        </pc:grpChg>
        <pc:grpChg chg="add mod ord">
          <ac:chgData name="Kaan Aydin" userId="806ac4fb-eee5-4f85-962b-93e58f7d516c" providerId="ADAL" clId="{D060BC77-27F7-4805-9C05-418EFAFAD8FA}" dt="2023-05-19T00:13:45.972" v="3400" actId="164"/>
          <ac:grpSpMkLst>
            <pc:docMk/>
            <pc:sldMk cId="2490957990" sldId="3206"/>
            <ac:grpSpMk id="22" creationId="{529244FF-E6F9-481F-A6DC-83114C305743}"/>
          </ac:grpSpMkLst>
        </pc:grpChg>
        <pc:grpChg chg="add del mod">
          <ac:chgData name="Kaan Aydin" userId="806ac4fb-eee5-4f85-962b-93e58f7d516c" providerId="ADAL" clId="{D060BC77-27F7-4805-9C05-418EFAFAD8FA}" dt="2023-05-18T23:59:20.842" v="2013" actId="478"/>
          <ac:grpSpMkLst>
            <pc:docMk/>
            <pc:sldMk cId="2490957990" sldId="3206"/>
            <ac:grpSpMk id="25" creationId="{9880457B-270A-4D2D-AA8A-8449571B5A61}"/>
          </ac:grpSpMkLst>
        </pc:grpChg>
        <pc:grpChg chg="add del mod">
          <ac:chgData name="Kaan Aydin" userId="806ac4fb-eee5-4f85-962b-93e58f7d516c" providerId="ADAL" clId="{D060BC77-27F7-4805-9C05-418EFAFAD8FA}" dt="2023-05-19T21:49:34.015" v="21668" actId="165"/>
          <ac:grpSpMkLst>
            <pc:docMk/>
            <pc:sldMk cId="2490957990" sldId="3206"/>
            <ac:grpSpMk id="25" creationId="{D428FA82-A7E0-4DCA-A378-F7B569F75FD3}"/>
          </ac:grpSpMkLst>
        </pc:grpChg>
        <pc:grpChg chg="add del mod">
          <ac:chgData name="Kaan Aydin" userId="806ac4fb-eee5-4f85-962b-93e58f7d516c" providerId="ADAL" clId="{D060BC77-27F7-4805-9C05-418EFAFAD8FA}" dt="2023-05-19T21:49:34.811" v="21669" actId="165"/>
          <ac:grpSpMkLst>
            <pc:docMk/>
            <pc:sldMk cId="2490957990" sldId="3206"/>
            <ac:grpSpMk id="26" creationId="{3E23C8DA-1268-4709-A4F4-BE93720CC065}"/>
          </ac:grpSpMkLst>
        </pc:grpChg>
        <pc:grpChg chg="add del mod">
          <ac:chgData name="Kaan Aydin" userId="806ac4fb-eee5-4f85-962b-93e58f7d516c" providerId="ADAL" clId="{D060BC77-27F7-4805-9C05-418EFAFAD8FA}" dt="2023-05-19T21:49:28.702" v="21666" actId="165"/>
          <ac:grpSpMkLst>
            <pc:docMk/>
            <pc:sldMk cId="2490957990" sldId="3206"/>
            <ac:grpSpMk id="27" creationId="{46AAD672-B926-4F9D-B106-284298FE3F2E}"/>
          </ac:grpSpMkLst>
        </pc:grpChg>
        <pc:grpChg chg="add mod">
          <ac:chgData name="Kaan Aydin" userId="806ac4fb-eee5-4f85-962b-93e58f7d516c" providerId="ADAL" clId="{D060BC77-27F7-4805-9C05-418EFAFAD8FA}" dt="2023-05-19T21:49:36.999" v="21671" actId="164"/>
          <ac:grpSpMkLst>
            <pc:docMk/>
            <pc:sldMk cId="2490957990" sldId="3206"/>
            <ac:grpSpMk id="28" creationId="{41DA71BE-2B12-4D3E-BE87-5AD84A982B22}"/>
          </ac:grpSpMkLst>
        </pc:grpChg>
        <pc:grpChg chg="add mod">
          <ac:chgData name="Kaan Aydin" userId="806ac4fb-eee5-4f85-962b-93e58f7d516c" providerId="ADAL" clId="{D060BC77-27F7-4805-9C05-418EFAFAD8FA}" dt="2023-05-19T21:49:48.098" v="21673" actId="164"/>
          <ac:grpSpMkLst>
            <pc:docMk/>
            <pc:sldMk cId="2490957990" sldId="3206"/>
            <ac:grpSpMk id="29" creationId="{99F2EF94-1275-4014-AFDF-F860A0308AD4}"/>
          </ac:grpSpMkLst>
        </pc:grpChg>
        <pc:grpChg chg="add mod">
          <ac:chgData name="Kaan Aydin" userId="806ac4fb-eee5-4f85-962b-93e58f7d516c" providerId="ADAL" clId="{D060BC77-27F7-4805-9C05-418EFAFAD8FA}" dt="2023-05-19T21:49:48.098" v="21673" actId="164"/>
          <ac:grpSpMkLst>
            <pc:docMk/>
            <pc:sldMk cId="2490957990" sldId="3206"/>
            <ac:grpSpMk id="34" creationId="{8A9A4C09-4BCA-487C-85AA-4DF80B7EED62}"/>
          </ac:grpSpMkLst>
        </pc:grpChg>
        <pc:grpChg chg="add mod ord topLvl">
          <ac:chgData name="Kaan Aydin" userId="806ac4fb-eee5-4f85-962b-93e58f7d516c" providerId="ADAL" clId="{D060BC77-27F7-4805-9C05-418EFAFAD8FA}" dt="2023-05-19T21:49:36.999" v="21671" actId="164"/>
          <ac:grpSpMkLst>
            <pc:docMk/>
            <pc:sldMk cId="2490957990" sldId="3206"/>
            <ac:grpSpMk id="35" creationId="{C15C88E2-514A-4263-BEE2-3700D56F2755}"/>
          </ac:grpSpMkLst>
        </pc:grpChg>
        <pc:grpChg chg="add del mod">
          <ac:chgData name="Kaan Aydin" userId="806ac4fb-eee5-4f85-962b-93e58f7d516c" providerId="ADAL" clId="{D060BC77-27F7-4805-9C05-418EFAFAD8FA}" dt="2023-05-19T00:07:50.752" v="2812" actId="165"/>
          <ac:grpSpMkLst>
            <pc:docMk/>
            <pc:sldMk cId="2490957990" sldId="3206"/>
            <ac:grpSpMk id="38" creationId="{8BDE1C79-64C9-415D-810E-7446FB840425}"/>
          </ac:grpSpMkLst>
        </pc:grpChg>
        <pc:grpChg chg="add del mod">
          <ac:chgData name="Kaan Aydin" userId="806ac4fb-eee5-4f85-962b-93e58f7d516c" providerId="ADAL" clId="{D060BC77-27F7-4805-9C05-418EFAFAD8FA}" dt="2023-05-19T00:07:56.245" v="2815" actId="165"/>
          <ac:grpSpMkLst>
            <pc:docMk/>
            <pc:sldMk cId="2490957990" sldId="3206"/>
            <ac:grpSpMk id="39" creationId="{8DB03CB3-7CCA-415C-9906-6E8E2D6EF6EA}"/>
          </ac:grpSpMkLst>
        </pc:grpChg>
        <pc:grpChg chg="add del mod">
          <ac:chgData name="Kaan Aydin" userId="806ac4fb-eee5-4f85-962b-93e58f7d516c" providerId="ADAL" clId="{D060BC77-27F7-4805-9C05-418EFAFAD8FA}" dt="2023-05-19T00:08:04.451" v="2826" actId="165"/>
          <ac:grpSpMkLst>
            <pc:docMk/>
            <pc:sldMk cId="2490957990" sldId="3206"/>
            <ac:grpSpMk id="40" creationId="{9553EAEF-D4E3-41C8-AF2F-61F5A175945C}"/>
          </ac:grpSpMkLst>
        </pc:grpChg>
        <pc:grpChg chg="add mod ord">
          <ac:chgData name="Kaan Aydin" userId="806ac4fb-eee5-4f85-962b-93e58f7d516c" providerId="ADAL" clId="{D060BC77-27F7-4805-9C05-418EFAFAD8FA}" dt="2023-05-19T21:49:19.473" v="21661" actId="164"/>
          <ac:grpSpMkLst>
            <pc:docMk/>
            <pc:sldMk cId="2490957990" sldId="3206"/>
            <ac:grpSpMk id="41" creationId="{4841D8D3-6BBD-423F-9EA6-08FA66C6BDFF}"/>
          </ac:grpSpMkLst>
        </pc:grpChg>
        <pc:grpChg chg="add mod">
          <ac:chgData name="Kaan Aydin" userId="806ac4fb-eee5-4f85-962b-93e58f7d516c" providerId="ADAL" clId="{D060BC77-27F7-4805-9C05-418EFAFAD8FA}" dt="2023-05-19T21:49:48.098" v="21673" actId="164"/>
          <ac:grpSpMkLst>
            <pc:docMk/>
            <pc:sldMk cId="2490957990" sldId="3206"/>
            <ac:grpSpMk id="44" creationId="{514E9226-635F-4443-812F-450D46E0C44D}"/>
          </ac:grpSpMkLst>
        </pc:grpChg>
        <pc:graphicFrameChg chg="add mod ord">
          <ac:chgData name="Kaan Aydin" userId="806ac4fb-eee5-4f85-962b-93e58f7d516c" providerId="ADAL" clId="{D060BC77-27F7-4805-9C05-418EFAFAD8FA}" dt="2023-05-19T00:15:28.491" v="3575"/>
          <ac:graphicFrameMkLst>
            <pc:docMk/>
            <pc:sldMk cId="2490957990" sldId="3206"/>
            <ac:graphicFrameMk id="7" creationId="{FE2D6E43-E02E-4421-88F2-D054137ACA4F}"/>
          </ac:graphicFrameMkLst>
        </pc:graphicFrameChg>
        <pc:picChg chg="add mod">
          <ac:chgData name="Kaan Aydin" userId="806ac4fb-eee5-4f85-962b-93e58f7d516c" providerId="ADAL" clId="{D060BC77-27F7-4805-9C05-418EFAFAD8FA}" dt="2023-05-19T00:08:11.323" v="2831" actId="164"/>
          <ac:picMkLst>
            <pc:docMk/>
            <pc:sldMk cId="2490957990" sldId="3206"/>
            <ac:picMk id="8" creationId="{BD5980F6-526C-4E5C-9DCD-8A922E26C26E}"/>
          </ac:picMkLst>
        </pc:picChg>
        <pc:cxnChg chg="add mod">
          <ac:chgData name="Kaan Aydin" userId="806ac4fb-eee5-4f85-962b-93e58f7d516c" providerId="ADAL" clId="{D060BC77-27F7-4805-9C05-418EFAFAD8FA}" dt="2023-05-18T23:56:57.615" v="1931" actId="164"/>
          <ac:cxnSpMkLst>
            <pc:docMk/>
            <pc:sldMk cId="2490957990" sldId="3206"/>
            <ac:cxnSpMk id="10" creationId="{A63E5EA6-AB63-461E-98FD-1023E6ABF377}"/>
          </ac:cxnSpMkLst>
        </pc:cxnChg>
        <pc:cxnChg chg="add mod ord">
          <ac:chgData name="Kaan Aydin" userId="806ac4fb-eee5-4f85-962b-93e58f7d516c" providerId="ADAL" clId="{D060BC77-27F7-4805-9C05-418EFAFAD8FA}" dt="2023-05-19T00:13:45.972" v="3400" actId="164"/>
          <ac:cxnSpMkLst>
            <pc:docMk/>
            <pc:sldMk cId="2490957990" sldId="3206"/>
            <ac:cxnSpMk id="21" creationId="{F601BADA-2611-490D-8760-DE9D16BF55C8}"/>
          </ac:cxnSpMkLst>
        </pc:cxnChg>
      </pc:sldChg>
      <pc:sldChg chg="addSp delSp modSp add modAnim">
        <pc:chgData name="Kaan Aydin" userId="806ac4fb-eee5-4f85-962b-93e58f7d516c" providerId="ADAL" clId="{D060BC77-27F7-4805-9C05-418EFAFAD8FA}" dt="2023-05-19T21:59:38.533" v="22418" actId="732"/>
        <pc:sldMkLst>
          <pc:docMk/>
          <pc:sldMk cId="785689267" sldId="3207"/>
        </pc:sldMkLst>
        <pc:spChg chg="mod">
          <ac:chgData name="Kaan Aydin" userId="806ac4fb-eee5-4f85-962b-93e58f7d516c" providerId="ADAL" clId="{D060BC77-27F7-4805-9C05-418EFAFAD8FA}" dt="2023-05-19T00:15:33.847" v="3611" actId="948"/>
          <ac:spMkLst>
            <pc:docMk/>
            <pc:sldMk cId="785689267" sldId="3207"/>
            <ac:spMk id="2" creationId="{47D5CD6A-2C81-4F78-9430-47DD8AAE5BE6}"/>
          </ac:spMkLst>
        </pc:spChg>
        <pc:spChg chg="del">
          <ac:chgData name="Kaan Aydin" userId="806ac4fb-eee5-4f85-962b-93e58f7d516c" providerId="ADAL" clId="{D060BC77-27F7-4805-9C05-418EFAFAD8FA}" dt="2023-05-19T00:15:37.753" v="3635" actId="478"/>
          <ac:spMkLst>
            <pc:docMk/>
            <pc:sldMk cId="785689267" sldId="3207"/>
            <ac:spMk id="3" creationId="{03F1AC7F-E283-44B1-AEB9-AA0037F011D1}"/>
          </ac:spMkLst>
        </pc:spChg>
        <pc:spChg chg="add del mod">
          <ac:chgData name="Kaan Aydin" userId="806ac4fb-eee5-4f85-962b-93e58f7d516c" providerId="ADAL" clId="{D060BC77-27F7-4805-9C05-418EFAFAD8FA}" dt="2023-05-19T00:15:22.933" v="3504"/>
          <ac:spMkLst>
            <pc:docMk/>
            <pc:sldMk cId="785689267" sldId="3207"/>
            <ac:spMk id="6" creationId="{BFEFD946-2790-4A5B-9A32-5E2F55E6D84F}"/>
          </ac:spMkLst>
        </pc:spChg>
        <pc:spChg chg="add del mod">
          <ac:chgData name="Kaan Aydin" userId="806ac4fb-eee5-4f85-962b-93e58f7d516c" providerId="ADAL" clId="{D060BC77-27F7-4805-9C05-418EFAFAD8FA}" dt="2023-05-19T00:15:24.825" v="3541"/>
          <ac:spMkLst>
            <pc:docMk/>
            <pc:sldMk cId="785689267" sldId="3207"/>
            <ac:spMk id="8" creationId="{A3FCABF7-4AE1-48BE-B8E7-0F30B941FAF1}"/>
          </ac:spMkLst>
        </pc:spChg>
        <pc:spChg chg="add del mod">
          <ac:chgData name="Kaan Aydin" userId="806ac4fb-eee5-4f85-962b-93e58f7d516c" providerId="ADAL" clId="{D060BC77-27F7-4805-9C05-418EFAFAD8FA}" dt="2023-05-19T00:15:32.103" v="3605"/>
          <ac:spMkLst>
            <pc:docMk/>
            <pc:sldMk cId="785689267" sldId="3207"/>
            <ac:spMk id="9" creationId="{FA23B149-502B-495E-A3CD-83D11543AD75}"/>
          </ac:spMkLst>
        </pc:spChg>
        <pc:spChg chg="add del mod">
          <ac:chgData name="Kaan Aydin" userId="806ac4fb-eee5-4f85-962b-93e58f7d516c" providerId="ADAL" clId="{D060BC77-27F7-4805-9C05-418EFAFAD8FA}" dt="2023-05-19T00:15:33.859" v="3632"/>
          <ac:spMkLst>
            <pc:docMk/>
            <pc:sldMk cId="785689267" sldId="3207"/>
            <ac:spMk id="10" creationId="{943C7124-04F5-438E-A45D-F63109F32A8F}"/>
          </ac:spMkLst>
        </pc:spChg>
        <pc:spChg chg="mod">
          <ac:chgData name="Kaan Aydin" userId="806ac4fb-eee5-4f85-962b-93e58f7d516c" providerId="ADAL" clId="{D060BC77-27F7-4805-9C05-418EFAFAD8FA}" dt="2023-05-19T21:47:17.499" v="21225" actId="2711"/>
          <ac:spMkLst>
            <pc:docMk/>
            <pc:sldMk cId="785689267" sldId="3207"/>
            <ac:spMk id="16" creationId="{26A9D6FE-20E3-41BF-8942-5CF14954BBF9}"/>
          </ac:spMkLst>
        </pc:spChg>
        <pc:spChg chg="mod">
          <ac:chgData name="Kaan Aydin" userId="806ac4fb-eee5-4f85-962b-93e58f7d516c" providerId="ADAL" clId="{D060BC77-27F7-4805-9C05-418EFAFAD8FA}" dt="2023-05-19T21:47:17.499" v="21225" actId="2711"/>
          <ac:spMkLst>
            <pc:docMk/>
            <pc:sldMk cId="785689267" sldId="3207"/>
            <ac:spMk id="17" creationId="{5C2AB42E-4F53-46D7-AD7F-E4B11B3BB303}"/>
          </ac:spMkLst>
        </pc:spChg>
        <pc:spChg chg="add mod topLvl">
          <ac:chgData name="Kaan Aydin" userId="806ac4fb-eee5-4f85-962b-93e58f7d516c" providerId="ADAL" clId="{D060BC77-27F7-4805-9C05-418EFAFAD8FA}" dt="2023-05-19T21:55:45.481" v="22190" actId="164"/>
          <ac:spMkLst>
            <pc:docMk/>
            <pc:sldMk cId="785689267" sldId="3207"/>
            <ac:spMk id="18" creationId="{F53A36BB-CB92-467C-AE9D-9FF9282C40D0}"/>
          </ac:spMkLst>
        </pc:spChg>
        <pc:spChg chg="add mod topLvl">
          <ac:chgData name="Kaan Aydin" userId="806ac4fb-eee5-4f85-962b-93e58f7d516c" providerId="ADAL" clId="{D060BC77-27F7-4805-9C05-418EFAFAD8FA}" dt="2023-05-19T21:55:59.339" v="22199" actId="164"/>
          <ac:spMkLst>
            <pc:docMk/>
            <pc:sldMk cId="785689267" sldId="3207"/>
            <ac:spMk id="19" creationId="{53D2A7AA-798E-42CF-BB8A-C13962A8A9D0}"/>
          </ac:spMkLst>
        </pc:spChg>
        <pc:spChg chg="mod topLvl">
          <ac:chgData name="Kaan Aydin" userId="806ac4fb-eee5-4f85-962b-93e58f7d516c" providerId="ADAL" clId="{D060BC77-27F7-4805-9C05-418EFAFAD8FA}" dt="2023-05-19T21:55:36.537" v="22188" actId="164"/>
          <ac:spMkLst>
            <pc:docMk/>
            <pc:sldMk cId="785689267" sldId="3207"/>
            <ac:spMk id="20" creationId="{F5138F44-3725-4B61-BC4A-C2B8C99EC003}"/>
          </ac:spMkLst>
        </pc:spChg>
        <pc:spChg chg="add del mod">
          <ac:chgData name="Kaan Aydin" userId="806ac4fb-eee5-4f85-962b-93e58f7d516c" providerId="ADAL" clId="{D060BC77-27F7-4805-9C05-418EFAFAD8FA}" dt="2023-05-19T21:43:02.517" v="21118" actId="478"/>
          <ac:spMkLst>
            <pc:docMk/>
            <pc:sldMk cId="785689267" sldId="3207"/>
            <ac:spMk id="22" creationId="{41D62355-4A5E-4AF2-A517-134F5B749D0B}"/>
          </ac:spMkLst>
        </pc:spChg>
        <pc:spChg chg="mod topLvl">
          <ac:chgData name="Kaan Aydin" userId="806ac4fb-eee5-4f85-962b-93e58f7d516c" providerId="ADAL" clId="{D060BC77-27F7-4805-9C05-418EFAFAD8FA}" dt="2023-05-19T21:50:30.541" v="21681" actId="20577"/>
          <ac:spMkLst>
            <pc:docMk/>
            <pc:sldMk cId="785689267" sldId="3207"/>
            <ac:spMk id="23" creationId="{A354D285-7D27-4398-96CE-293DFEE77127}"/>
          </ac:spMkLst>
        </pc:spChg>
        <pc:spChg chg="add del mod">
          <ac:chgData name="Kaan Aydin" userId="806ac4fb-eee5-4f85-962b-93e58f7d516c" providerId="ADAL" clId="{D060BC77-27F7-4805-9C05-418EFAFAD8FA}" dt="2023-05-19T00:22:54.395" v="5021" actId="478"/>
          <ac:spMkLst>
            <pc:docMk/>
            <pc:sldMk cId="785689267" sldId="3207"/>
            <ac:spMk id="25" creationId="{9FBC2442-3D99-44C2-83D6-42AC15C0A993}"/>
          </ac:spMkLst>
        </pc:spChg>
        <pc:spChg chg="add mod">
          <ac:chgData name="Kaan Aydin" userId="806ac4fb-eee5-4f85-962b-93e58f7d516c" providerId="ADAL" clId="{D060BC77-27F7-4805-9C05-418EFAFAD8FA}" dt="2023-05-19T00:20:33.855" v="4475" actId="1076"/>
          <ac:spMkLst>
            <pc:docMk/>
            <pc:sldMk cId="785689267" sldId="3207"/>
            <ac:spMk id="26" creationId="{098D879E-D9F3-4CC3-9896-89831B831EA1}"/>
          </ac:spMkLst>
        </pc:spChg>
        <pc:spChg chg="add mod topLvl">
          <ac:chgData name="Kaan Aydin" userId="806ac4fb-eee5-4f85-962b-93e58f7d516c" providerId="ADAL" clId="{D060BC77-27F7-4805-9C05-418EFAFAD8FA}" dt="2023-05-19T21:55:45.481" v="22190" actId="164"/>
          <ac:spMkLst>
            <pc:docMk/>
            <pc:sldMk cId="785689267" sldId="3207"/>
            <ac:spMk id="27" creationId="{98A9886D-9876-4D80-AD34-9524991DEB50}"/>
          </ac:spMkLst>
        </pc:spChg>
        <pc:spChg chg="add mod topLvl">
          <ac:chgData name="Kaan Aydin" userId="806ac4fb-eee5-4f85-962b-93e58f7d516c" providerId="ADAL" clId="{D060BC77-27F7-4805-9C05-418EFAFAD8FA}" dt="2023-05-19T21:55:45.481" v="22190" actId="164"/>
          <ac:spMkLst>
            <pc:docMk/>
            <pc:sldMk cId="785689267" sldId="3207"/>
            <ac:spMk id="28" creationId="{32890AC7-A87C-4D89-A9B7-7A144A1218B4}"/>
          </ac:spMkLst>
        </pc:spChg>
        <pc:spChg chg="add mod topLvl">
          <ac:chgData name="Kaan Aydin" userId="806ac4fb-eee5-4f85-962b-93e58f7d516c" providerId="ADAL" clId="{D060BC77-27F7-4805-9C05-418EFAFAD8FA}" dt="2023-05-19T21:55:45.481" v="22190" actId="164"/>
          <ac:spMkLst>
            <pc:docMk/>
            <pc:sldMk cId="785689267" sldId="3207"/>
            <ac:spMk id="29" creationId="{83CA8514-B0F7-4384-A1BF-A4D9DABDF4CA}"/>
          </ac:spMkLst>
        </pc:spChg>
        <pc:spChg chg="add mod topLvl">
          <ac:chgData name="Kaan Aydin" userId="806ac4fb-eee5-4f85-962b-93e58f7d516c" providerId="ADAL" clId="{D060BC77-27F7-4805-9C05-418EFAFAD8FA}" dt="2023-05-19T21:55:45.481" v="22190" actId="164"/>
          <ac:spMkLst>
            <pc:docMk/>
            <pc:sldMk cId="785689267" sldId="3207"/>
            <ac:spMk id="30" creationId="{402E01B9-DF68-4D7A-98E6-EF86855E8790}"/>
          </ac:spMkLst>
        </pc:spChg>
        <pc:spChg chg="add mod topLvl">
          <ac:chgData name="Kaan Aydin" userId="806ac4fb-eee5-4f85-962b-93e58f7d516c" providerId="ADAL" clId="{D060BC77-27F7-4805-9C05-418EFAFAD8FA}" dt="2023-05-19T21:55:45.481" v="22190" actId="164"/>
          <ac:spMkLst>
            <pc:docMk/>
            <pc:sldMk cId="785689267" sldId="3207"/>
            <ac:spMk id="31" creationId="{08089421-98D1-40EF-80AD-3B5AFD6E9878}"/>
          </ac:spMkLst>
        </pc:spChg>
        <pc:spChg chg="add mod topLvl">
          <ac:chgData name="Kaan Aydin" userId="806ac4fb-eee5-4f85-962b-93e58f7d516c" providerId="ADAL" clId="{D060BC77-27F7-4805-9C05-418EFAFAD8FA}" dt="2023-05-19T21:55:45.481" v="22190" actId="164"/>
          <ac:spMkLst>
            <pc:docMk/>
            <pc:sldMk cId="785689267" sldId="3207"/>
            <ac:spMk id="32" creationId="{9B03D03E-9F67-449B-A21C-AFEDAFC6A2DF}"/>
          </ac:spMkLst>
        </pc:spChg>
        <pc:spChg chg="add mod topLvl">
          <ac:chgData name="Kaan Aydin" userId="806ac4fb-eee5-4f85-962b-93e58f7d516c" providerId="ADAL" clId="{D060BC77-27F7-4805-9C05-418EFAFAD8FA}" dt="2023-05-19T21:55:45.481" v="22190" actId="164"/>
          <ac:spMkLst>
            <pc:docMk/>
            <pc:sldMk cId="785689267" sldId="3207"/>
            <ac:spMk id="33" creationId="{269D0FFA-3A56-47A3-AC7E-DA65D74A830E}"/>
          </ac:spMkLst>
        </pc:spChg>
        <pc:spChg chg="add mod topLvl">
          <ac:chgData name="Kaan Aydin" userId="806ac4fb-eee5-4f85-962b-93e58f7d516c" providerId="ADAL" clId="{D060BC77-27F7-4805-9C05-418EFAFAD8FA}" dt="2023-05-19T21:55:45.481" v="22190" actId="164"/>
          <ac:spMkLst>
            <pc:docMk/>
            <pc:sldMk cId="785689267" sldId="3207"/>
            <ac:spMk id="34" creationId="{7E337829-4A4F-4E5F-87BE-04014C670FDB}"/>
          </ac:spMkLst>
        </pc:spChg>
        <pc:spChg chg="add mod topLvl">
          <ac:chgData name="Kaan Aydin" userId="806ac4fb-eee5-4f85-962b-93e58f7d516c" providerId="ADAL" clId="{D060BC77-27F7-4805-9C05-418EFAFAD8FA}" dt="2023-05-19T21:55:59.339" v="22199" actId="164"/>
          <ac:spMkLst>
            <pc:docMk/>
            <pc:sldMk cId="785689267" sldId="3207"/>
            <ac:spMk id="39" creationId="{C4EC435B-2D5D-4BC1-90D8-5264016C3E6E}"/>
          </ac:spMkLst>
        </pc:spChg>
        <pc:spChg chg="add mod topLvl">
          <ac:chgData name="Kaan Aydin" userId="806ac4fb-eee5-4f85-962b-93e58f7d516c" providerId="ADAL" clId="{D060BC77-27F7-4805-9C05-418EFAFAD8FA}" dt="2023-05-19T21:55:59.339" v="22199" actId="164"/>
          <ac:spMkLst>
            <pc:docMk/>
            <pc:sldMk cId="785689267" sldId="3207"/>
            <ac:spMk id="40" creationId="{A88D8F42-E24A-4B04-8BAC-4A16FF2C00C6}"/>
          </ac:spMkLst>
        </pc:spChg>
        <pc:spChg chg="add mod topLvl">
          <ac:chgData name="Kaan Aydin" userId="806ac4fb-eee5-4f85-962b-93e58f7d516c" providerId="ADAL" clId="{D060BC77-27F7-4805-9C05-418EFAFAD8FA}" dt="2023-05-19T21:55:59.339" v="22199" actId="164"/>
          <ac:spMkLst>
            <pc:docMk/>
            <pc:sldMk cId="785689267" sldId="3207"/>
            <ac:spMk id="42" creationId="{7D9029A9-A3F9-4F43-9FB0-56D95A0C2DC8}"/>
          </ac:spMkLst>
        </pc:spChg>
        <pc:spChg chg="add mod topLvl">
          <ac:chgData name="Kaan Aydin" userId="806ac4fb-eee5-4f85-962b-93e58f7d516c" providerId="ADAL" clId="{D060BC77-27F7-4805-9C05-418EFAFAD8FA}" dt="2023-05-19T21:55:59.339" v="22199" actId="164"/>
          <ac:spMkLst>
            <pc:docMk/>
            <pc:sldMk cId="785689267" sldId="3207"/>
            <ac:spMk id="43" creationId="{0CBA431A-16EE-4CC7-8459-89AE198A1973}"/>
          </ac:spMkLst>
        </pc:spChg>
        <pc:spChg chg="add mod topLvl">
          <ac:chgData name="Kaan Aydin" userId="806ac4fb-eee5-4f85-962b-93e58f7d516c" providerId="ADAL" clId="{D060BC77-27F7-4805-9C05-418EFAFAD8FA}" dt="2023-05-19T21:55:59.339" v="22199" actId="164"/>
          <ac:spMkLst>
            <pc:docMk/>
            <pc:sldMk cId="785689267" sldId="3207"/>
            <ac:spMk id="44" creationId="{A0F4BC8E-6560-443E-8C48-3A67D0A933E2}"/>
          </ac:spMkLst>
        </pc:spChg>
        <pc:spChg chg="add mod topLvl">
          <ac:chgData name="Kaan Aydin" userId="806ac4fb-eee5-4f85-962b-93e58f7d516c" providerId="ADAL" clId="{D060BC77-27F7-4805-9C05-418EFAFAD8FA}" dt="2023-05-19T21:55:59.339" v="22199" actId="164"/>
          <ac:spMkLst>
            <pc:docMk/>
            <pc:sldMk cId="785689267" sldId="3207"/>
            <ac:spMk id="45" creationId="{D96880A5-AC57-4ED3-8059-A8A3AE05F60C}"/>
          </ac:spMkLst>
        </pc:spChg>
        <pc:spChg chg="add del mod">
          <ac:chgData name="Kaan Aydin" userId="806ac4fb-eee5-4f85-962b-93e58f7d516c" providerId="ADAL" clId="{D060BC77-27F7-4805-9C05-418EFAFAD8FA}" dt="2023-05-19T21:35:43.984" v="20943" actId="478"/>
          <ac:spMkLst>
            <pc:docMk/>
            <pc:sldMk cId="785689267" sldId="3207"/>
            <ac:spMk id="48" creationId="{21460F15-3C1B-4CEC-BB3C-9D56888F05EC}"/>
          </ac:spMkLst>
        </pc:spChg>
        <pc:spChg chg="add mod topLvl">
          <ac:chgData name="Kaan Aydin" userId="806ac4fb-eee5-4f85-962b-93e58f7d516c" providerId="ADAL" clId="{D060BC77-27F7-4805-9C05-418EFAFAD8FA}" dt="2023-05-19T21:55:45.481" v="22190" actId="164"/>
          <ac:spMkLst>
            <pc:docMk/>
            <pc:sldMk cId="785689267" sldId="3207"/>
            <ac:spMk id="49" creationId="{EF1CD033-5942-47FA-85F8-52BEE83F95C4}"/>
          </ac:spMkLst>
        </pc:spChg>
        <pc:spChg chg="add">
          <ac:chgData name="Kaan Aydin" userId="806ac4fb-eee5-4f85-962b-93e58f7d516c" providerId="ADAL" clId="{D060BC77-27F7-4805-9C05-418EFAFAD8FA}" dt="2023-05-19T21:51:28.514" v="21723"/>
          <ac:spMkLst>
            <pc:docMk/>
            <pc:sldMk cId="785689267" sldId="3207"/>
            <ac:spMk id="51" creationId="{1A231C95-D1C1-4552-AA6F-DC86C7666DA9}"/>
          </ac:spMkLst>
        </pc:spChg>
        <pc:spChg chg="add mod ord">
          <ac:chgData name="Kaan Aydin" userId="806ac4fb-eee5-4f85-962b-93e58f7d516c" providerId="ADAL" clId="{D060BC77-27F7-4805-9C05-418EFAFAD8FA}" dt="2023-05-19T21:55:45.481" v="22190" actId="164"/>
          <ac:spMkLst>
            <pc:docMk/>
            <pc:sldMk cId="785689267" sldId="3207"/>
            <ac:spMk id="52" creationId="{CBF3B004-EF22-4538-9C19-4AAE0864DEF4}"/>
          </ac:spMkLst>
        </pc:spChg>
        <pc:spChg chg="add mod ord">
          <ac:chgData name="Kaan Aydin" userId="806ac4fb-eee5-4f85-962b-93e58f7d516c" providerId="ADAL" clId="{D060BC77-27F7-4805-9C05-418EFAFAD8FA}" dt="2023-05-19T21:59:12.113" v="22414" actId="20577"/>
          <ac:spMkLst>
            <pc:docMk/>
            <pc:sldMk cId="785689267" sldId="3207"/>
            <ac:spMk id="53" creationId="{D72D459E-AD2F-4F01-A823-CCB69ACE9FDC}"/>
          </ac:spMkLst>
        </pc:spChg>
        <pc:spChg chg="add mod ord">
          <ac:chgData name="Kaan Aydin" userId="806ac4fb-eee5-4f85-962b-93e58f7d516c" providerId="ADAL" clId="{D060BC77-27F7-4805-9C05-418EFAFAD8FA}" dt="2023-05-19T21:55:26.401" v="22187" actId="465"/>
          <ac:spMkLst>
            <pc:docMk/>
            <pc:sldMk cId="785689267" sldId="3207"/>
            <ac:spMk id="54" creationId="{AE27E339-1C3D-42B8-98F1-A90E420AF4F3}"/>
          </ac:spMkLst>
        </pc:spChg>
        <pc:grpChg chg="add del mod">
          <ac:chgData name="Kaan Aydin" userId="806ac4fb-eee5-4f85-962b-93e58f7d516c" providerId="ADAL" clId="{D060BC77-27F7-4805-9C05-418EFAFAD8FA}" dt="2023-05-19T21:37:08.764" v="20955" actId="165"/>
          <ac:grpSpMkLst>
            <pc:docMk/>
            <pc:sldMk cId="785689267" sldId="3207"/>
            <ac:grpSpMk id="10" creationId="{D9017E7E-C0D4-484F-AD1F-E79080B0A372}"/>
          </ac:grpSpMkLst>
        </pc:grpChg>
        <pc:grpChg chg="add del mod">
          <ac:chgData name="Kaan Aydin" userId="806ac4fb-eee5-4f85-962b-93e58f7d516c" providerId="ADAL" clId="{D060BC77-27F7-4805-9C05-418EFAFAD8FA}" dt="2023-05-19T21:41:45.119" v="21042" actId="165"/>
          <ac:grpSpMkLst>
            <pc:docMk/>
            <pc:sldMk cId="785689267" sldId="3207"/>
            <ac:grpSpMk id="11" creationId="{AB2B6BE8-6ACB-41D2-9BBB-CFCE62EBB3DA}"/>
          </ac:grpSpMkLst>
        </pc:grpChg>
        <pc:grpChg chg="add mod topLvl">
          <ac:chgData name="Kaan Aydin" userId="806ac4fb-eee5-4f85-962b-93e58f7d516c" providerId="ADAL" clId="{D060BC77-27F7-4805-9C05-418EFAFAD8FA}" dt="2023-05-19T21:55:36.537" v="22188" actId="164"/>
          <ac:grpSpMkLst>
            <pc:docMk/>
            <pc:sldMk cId="785689267" sldId="3207"/>
            <ac:grpSpMk id="13" creationId="{56614846-58A9-4447-9BA9-673B63780C86}"/>
          </ac:grpSpMkLst>
        </pc:grpChg>
        <pc:grpChg chg="add mod topLvl">
          <ac:chgData name="Kaan Aydin" userId="806ac4fb-eee5-4f85-962b-93e58f7d516c" providerId="ADAL" clId="{D060BC77-27F7-4805-9C05-418EFAFAD8FA}" dt="2023-05-19T21:55:36.537" v="22188" actId="164"/>
          <ac:grpSpMkLst>
            <pc:docMk/>
            <pc:sldMk cId="785689267" sldId="3207"/>
            <ac:grpSpMk id="15" creationId="{C99D7DA5-71E1-44CA-9841-0198A94E494D}"/>
          </ac:grpSpMkLst>
        </pc:grpChg>
        <pc:grpChg chg="add del mod">
          <ac:chgData name="Kaan Aydin" userId="806ac4fb-eee5-4f85-962b-93e58f7d516c" providerId="ADAL" clId="{D060BC77-27F7-4805-9C05-418EFAFAD8FA}" dt="2023-05-19T00:24:17.045" v="5271" actId="165"/>
          <ac:grpSpMkLst>
            <pc:docMk/>
            <pc:sldMk cId="785689267" sldId="3207"/>
            <ac:grpSpMk id="19" creationId="{5016CFC6-1D4F-4DFC-A94A-550619699F1B}"/>
          </ac:grpSpMkLst>
        </pc:grpChg>
        <pc:grpChg chg="add del mod">
          <ac:chgData name="Kaan Aydin" userId="806ac4fb-eee5-4f85-962b-93e58f7d516c" providerId="ADAL" clId="{D060BC77-27F7-4805-9C05-418EFAFAD8FA}" dt="2023-05-19T00:24:35.725" v="5279" actId="165"/>
          <ac:grpSpMkLst>
            <pc:docMk/>
            <pc:sldMk cId="785689267" sldId="3207"/>
            <ac:grpSpMk id="22" creationId="{1689CDFB-2A02-431D-AF8B-EE524BC83C64}"/>
          </ac:grpSpMkLst>
        </pc:grpChg>
        <pc:grpChg chg="add del mod">
          <ac:chgData name="Kaan Aydin" userId="806ac4fb-eee5-4f85-962b-93e58f7d516c" providerId="ADAL" clId="{D060BC77-27F7-4805-9C05-418EFAFAD8FA}" dt="2023-05-19T21:55:00.343" v="22004" actId="165"/>
          <ac:grpSpMkLst>
            <pc:docMk/>
            <pc:sldMk cId="785689267" sldId="3207"/>
            <ac:grpSpMk id="25" creationId="{266D42BF-2CF0-4B23-91F3-7CB6414BAE0C}"/>
          </ac:grpSpMkLst>
        </pc:grpChg>
        <pc:grpChg chg="add del mod">
          <ac:chgData name="Kaan Aydin" userId="806ac4fb-eee5-4f85-962b-93e58f7d516c" providerId="ADAL" clId="{D060BC77-27F7-4805-9C05-418EFAFAD8FA}" dt="2023-05-19T21:55:00.846" v="22005" actId="165"/>
          <ac:grpSpMkLst>
            <pc:docMk/>
            <pc:sldMk cId="785689267" sldId="3207"/>
            <ac:grpSpMk id="36" creationId="{4E1D11A0-FEFC-4073-91F5-168CCDC2DD2E}"/>
          </ac:grpSpMkLst>
        </pc:grpChg>
        <pc:grpChg chg="add del mod">
          <ac:chgData name="Kaan Aydin" userId="806ac4fb-eee5-4f85-962b-93e58f7d516c" providerId="ADAL" clId="{D060BC77-27F7-4805-9C05-418EFAFAD8FA}" dt="2023-05-19T21:53:10.952" v="21819" actId="165"/>
          <ac:grpSpMkLst>
            <pc:docMk/>
            <pc:sldMk cId="785689267" sldId="3207"/>
            <ac:grpSpMk id="37" creationId="{648C7524-C9C2-401F-924E-9C2DA1F53E92}"/>
          </ac:grpSpMkLst>
        </pc:grpChg>
        <pc:grpChg chg="add mod">
          <ac:chgData name="Kaan Aydin" userId="806ac4fb-eee5-4f85-962b-93e58f7d516c" providerId="ADAL" clId="{D060BC77-27F7-4805-9C05-418EFAFAD8FA}" dt="2023-05-19T21:55:36.537" v="22188" actId="164"/>
          <ac:grpSpMkLst>
            <pc:docMk/>
            <pc:sldMk cId="785689267" sldId="3207"/>
            <ac:grpSpMk id="38" creationId="{A146BF8C-1371-4F73-B156-2EC5444B1B04}"/>
          </ac:grpSpMkLst>
        </pc:grpChg>
        <pc:grpChg chg="add mod">
          <ac:chgData name="Kaan Aydin" userId="806ac4fb-eee5-4f85-962b-93e58f7d516c" providerId="ADAL" clId="{D060BC77-27F7-4805-9C05-418EFAFAD8FA}" dt="2023-05-19T21:55:45.481" v="22190" actId="164"/>
          <ac:grpSpMkLst>
            <pc:docMk/>
            <pc:sldMk cId="785689267" sldId="3207"/>
            <ac:grpSpMk id="41" creationId="{526ED631-AFE7-439A-ADCE-F571B38DF12D}"/>
          </ac:grpSpMkLst>
        </pc:grpChg>
        <pc:grpChg chg="add del mod">
          <ac:chgData name="Kaan Aydin" userId="806ac4fb-eee5-4f85-962b-93e58f7d516c" providerId="ADAL" clId="{D060BC77-27F7-4805-9C05-418EFAFAD8FA}" dt="2023-05-19T00:23:35.163" v="5239" actId="165"/>
          <ac:grpSpMkLst>
            <pc:docMk/>
            <pc:sldMk cId="785689267" sldId="3207"/>
            <ac:grpSpMk id="43" creationId="{30A64D38-DFD5-4755-80CE-E6C2D0BF6BF8}"/>
          </ac:grpSpMkLst>
        </pc:grpChg>
        <pc:grpChg chg="add del mod">
          <ac:chgData name="Kaan Aydin" userId="806ac4fb-eee5-4f85-962b-93e58f7d516c" providerId="ADAL" clId="{D060BC77-27F7-4805-9C05-418EFAFAD8FA}" dt="2023-05-19T00:24:17.045" v="5271" actId="165"/>
          <ac:grpSpMkLst>
            <pc:docMk/>
            <pc:sldMk cId="785689267" sldId="3207"/>
            <ac:grpSpMk id="44" creationId="{AFC78A4A-F357-4EE4-A1E5-BC0433B1C7FC}"/>
          </ac:grpSpMkLst>
        </pc:grpChg>
        <pc:grpChg chg="add del mod topLvl">
          <ac:chgData name="Kaan Aydin" userId="806ac4fb-eee5-4f85-962b-93e58f7d516c" providerId="ADAL" clId="{D060BC77-27F7-4805-9C05-418EFAFAD8FA}" dt="2023-05-19T21:37:10.435" v="20956" actId="165"/>
          <ac:grpSpMkLst>
            <pc:docMk/>
            <pc:sldMk cId="785689267" sldId="3207"/>
            <ac:grpSpMk id="50" creationId="{76FAE3E3-18BD-4301-B4C4-6FF75FCB10F4}"/>
          </ac:grpSpMkLst>
        </pc:grpChg>
        <pc:grpChg chg="add mod">
          <ac:chgData name="Kaan Aydin" userId="806ac4fb-eee5-4f85-962b-93e58f7d516c" providerId="ADAL" clId="{D060BC77-27F7-4805-9C05-418EFAFAD8FA}" dt="2023-05-19T21:56:00.226" v="22200" actId="164"/>
          <ac:grpSpMkLst>
            <pc:docMk/>
            <pc:sldMk cId="785689267" sldId="3207"/>
            <ac:grpSpMk id="55" creationId="{3AE62B48-C1DD-4925-97A7-3A37E441872D}"/>
          </ac:grpSpMkLst>
        </pc:grpChg>
        <pc:grpChg chg="add mod">
          <ac:chgData name="Kaan Aydin" userId="806ac4fb-eee5-4f85-962b-93e58f7d516c" providerId="ADAL" clId="{D060BC77-27F7-4805-9C05-418EFAFAD8FA}" dt="2023-05-19T21:58:59.678" v="22390" actId="20577"/>
          <ac:grpSpMkLst>
            <pc:docMk/>
            <pc:sldMk cId="785689267" sldId="3207"/>
            <ac:grpSpMk id="56" creationId="{FA46592D-0FC6-47B2-B828-659F7840FB20}"/>
          </ac:grpSpMkLst>
        </pc:grpChg>
        <pc:graphicFrameChg chg="add mod ord">
          <ac:chgData name="Kaan Aydin" userId="806ac4fb-eee5-4f85-962b-93e58f7d516c" providerId="ADAL" clId="{D060BC77-27F7-4805-9C05-418EFAFAD8FA}" dt="2023-05-19T00:15:33.864" v="3634"/>
          <ac:graphicFrameMkLst>
            <pc:docMk/>
            <pc:sldMk cId="785689267" sldId="3207"/>
            <ac:graphicFrameMk id="7" creationId="{B7CE73F4-535C-4D1E-B3A7-D99F89C93D45}"/>
          </ac:graphicFrameMkLst>
        </pc:graphicFrameChg>
        <pc:graphicFrameChg chg="add del mod modGraphic">
          <ac:chgData name="Kaan Aydin" userId="806ac4fb-eee5-4f85-962b-93e58f7d516c" providerId="ADAL" clId="{D060BC77-27F7-4805-9C05-418EFAFAD8FA}" dt="2023-05-19T00:23:33.278" v="5238"/>
          <ac:graphicFrameMkLst>
            <pc:docMk/>
            <pc:sldMk cId="785689267" sldId="3207"/>
            <ac:graphicFrameMk id="13" creationId="{D9C0B3E8-DDAC-4EB6-98FE-82AFCE410A4E}"/>
          </ac:graphicFrameMkLst>
        </pc:graphicFrameChg>
        <pc:picChg chg="add del mod">
          <ac:chgData name="Kaan Aydin" userId="806ac4fb-eee5-4f85-962b-93e58f7d516c" providerId="ADAL" clId="{D060BC77-27F7-4805-9C05-418EFAFAD8FA}" dt="2023-05-19T21:35:42.366" v="20942" actId="478"/>
          <ac:picMkLst>
            <pc:docMk/>
            <pc:sldMk cId="785689267" sldId="3207"/>
            <ac:picMk id="6" creationId="{3C08049B-28BE-4830-AC46-12C94D2F2613}"/>
          </ac:picMkLst>
        </pc:picChg>
        <pc:picChg chg="add mod topLvl modCrop">
          <ac:chgData name="Kaan Aydin" userId="806ac4fb-eee5-4f85-962b-93e58f7d516c" providerId="ADAL" clId="{D060BC77-27F7-4805-9C05-418EFAFAD8FA}" dt="2023-05-19T21:59:38.533" v="22418" actId="732"/>
          <ac:picMkLst>
            <pc:docMk/>
            <pc:sldMk cId="785689267" sldId="3207"/>
            <ac:picMk id="9" creationId="{EAF0F3B6-A9B3-46B1-93A4-82008620D0AB}"/>
          </ac:picMkLst>
        </pc:picChg>
        <pc:picChg chg="add del mod">
          <ac:chgData name="Kaan Aydin" userId="806ac4fb-eee5-4f85-962b-93e58f7d516c" providerId="ADAL" clId="{D060BC77-27F7-4805-9C05-418EFAFAD8FA}" dt="2023-05-19T21:41:37.677" v="21041" actId="478"/>
          <ac:picMkLst>
            <pc:docMk/>
            <pc:sldMk cId="785689267" sldId="3207"/>
            <ac:picMk id="35" creationId="{247A7ABD-B12E-4BC0-9BDB-CE02DA15983D}"/>
          </ac:picMkLst>
        </pc:picChg>
        <pc:cxnChg chg="add del mod">
          <ac:chgData name="Kaan Aydin" userId="806ac4fb-eee5-4f85-962b-93e58f7d516c" providerId="ADAL" clId="{D060BC77-27F7-4805-9C05-418EFAFAD8FA}" dt="2023-05-19T00:15:45.543" v="3637" actId="478"/>
          <ac:cxnSpMkLst>
            <pc:docMk/>
            <pc:sldMk cId="785689267" sldId="3207"/>
            <ac:cxnSpMk id="12" creationId="{F3F5EACA-D8E8-48E1-9B8D-2EDCBDEB705B}"/>
          </ac:cxnSpMkLst>
        </pc:cxnChg>
        <pc:cxnChg chg="add mod topLvl">
          <ac:chgData name="Kaan Aydin" userId="806ac4fb-eee5-4f85-962b-93e58f7d516c" providerId="ADAL" clId="{D060BC77-27F7-4805-9C05-418EFAFAD8FA}" dt="2023-05-19T21:55:36.537" v="22188" actId="164"/>
          <ac:cxnSpMkLst>
            <pc:docMk/>
            <pc:sldMk cId="785689267" sldId="3207"/>
            <ac:cxnSpMk id="14" creationId="{252733F0-131A-40D9-882E-A0C0347C0D54}"/>
          </ac:cxnSpMkLst>
        </pc:cxnChg>
        <pc:cxnChg chg="mod topLvl">
          <ac:chgData name="Kaan Aydin" userId="806ac4fb-eee5-4f85-962b-93e58f7d516c" providerId="ADAL" clId="{D060BC77-27F7-4805-9C05-418EFAFAD8FA}" dt="2023-05-19T21:55:36.537" v="22188" actId="164"/>
          <ac:cxnSpMkLst>
            <pc:docMk/>
            <pc:sldMk cId="785689267" sldId="3207"/>
            <ac:cxnSpMk id="21" creationId="{CAD50A44-DD10-48C4-A37E-B69B2AF92292}"/>
          </ac:cxnSpMkLst>
        </pc:cxnChg>
        <pc:cxnChg chg="mod topLvl">
          <ac:chgData name="Kaan Aydin" userId="806ac4fb-eee5-4f85-962b-93e58f7d516c" providerId="ADAL" clId="{D060BC77-27F7-4805-9C05-418EFAFAD8FA}" dt="2023-05-19T21:40:21.869" v="21026" actId="164"/>
          <ac:cxnSpMkLst>
            <pc:docMk/>
            <pc:sldMk cId="785689267" sldId="3207"/>
            <ac:cxnSpMk id="24" creationId="{9856AD43-4257-46D5-A4E5-990401ED2F65}"/>
          </ac:cxnSpMkLst>
        </pc:cxnChg>
        <pc:cxnChg chg="add del mod topLvl">
          <ac:chgData name="Kaan Aydin" userId="806ac4fb-eee5-4f85-962b-93e58f7d516c" providerId="ADAL" clId="{D060BC77-27F7-4805-9C05-418EFAFAD8FA}" dt="2023-05-19T00:23:41.156" v="5242" actId="478"/>
          <ac:cxnSpMkLst>
            <pc:docMk/>
            <pc:sldMk cId="785689267" sldId="3207"/>
            <ac:cxnSpMk id="35" creationId="{4FD076E3-C26B-4A75-9162-C717B7824C2D}"/>
          </ac:cxnSpMkLst>
        </pc:cxnChg>
        <pc:cxnChg chg="add del mod topLvl">
          <ac:chgData name="Kaan Aydin" userId="806ac4fb-eee5-4f85-962b-93e58f7d516c" providerId="ADAL" clId="{D060BC77-27F7-4805-9C05-418EFAFAD8FA}" dt="2023-05-19T00:23:40.104" v="5241" actId="478"/>
          <ac:cxnSpMkLst>
            <pc:docMk/>
            <pc:sldMk cId="785689267" sldId="3207"/>
            <ac:cxnSpMk id="36" creationId="{65C931D7-258E-4D30-BACF-0863306ABF79}"/>
          </ac:cxnSpMkLst>
        </pc:cxnChg>
        <pc:cxnChg chg="add del mod topLvl">
          <ac:chgData name="Kaan Aydin" userId="806ac4fb-eee5-4f85-962b-93e58f7d516c" providerId="ADAL" clId="{D060BC77-27F7-4805-9C05-418EFAFAD8FA}" dt="2023-05-19T00:23:37.281" v="5240" actId="478"/>
          <ac:cxnSpMkLst>
            <pc:docMk/>
            <pc:sldMk cId="785689267" sldId="3207"/>
            <ac:cxnSpMk id="37" creationId="{BFEE02FC-A63E-423B-9534-31789C5D5F17}"/>
          </ac:cxnSpMkLst>
        </pc:cxnChg>
        <pc:cxnChg chg="add del mod topLvl">
          <ac:chgData name="Kaan Aydin" userId="806ac4fb-eee5-4f85-962b-93e58f7d516c" providerId="ADAL" clId="{D060BC77-27F7-4805-9C05-418EFAFAD8FA}" dt="2023-05-19T00:23:48.941" v="5246" actId="478"/>
          <ac:cxnSpMkLst>
            <pc:docMk/>
            <pc:sldMk cId="785689267" sldId="3207"/>
            <ac:cxnSpMk id="38" creationId="{327C15D1-6C23-4B2F-A64A-BC7BE0708513}"/>
          </ac:cxnSpMkLst>
        </pc:cxnChg>
        <pc:cxnChg chg="add del mod topLvl">
          <ac:chgData name="Kaan Aydin" userId="806ac4fb-eee5-4f85-962b-93e58f7d516c" providerId="ADAL" clId="{D060BC77-27F7-4805-9C05-418EFAFAD8FA}" dt="2023-05-19T00:23:50.844" v="5247" actId="478"/>
          <ac:cxnSpMkLst>
            <pc:docMk/>
            <pc:sldMk cId="785689267" sldId="3207"/>
            <ac:cxnSpMk id="39" creationId="{8DE951C6-D78A-4069-BAF1-CCD6BFFF455F}"/>
          </ac:cxnSpMkLst>
        </pc:cxnChg>
        <pc:cxnChg chg="add del mod topLvl">
          <ac:chgData name="Kaan Aydin" userId="806ac4fb-eee5-4f85-962b-93e58f7d516c" providerId="ADAL" clId="{D060BC77-27F7-4805-9C05-418EFAFAD8FA}" dt="2023-05-19T00:23:44.113" v="5243" actId="478"/>
          <ac:cxnSpMkLst>
            <pc:docMk/>
            <pc:sldMk cId="785689267" sldId="3207"/>
            <ac:cxnSpMk id="40" creationId="{0EE50A7B-8D6B-438C-B125-D3F969607DA2}"/>
          </ac:cxnSpMkLst>
        </pc:cxnChg>
        <pc:cxnChg chg="add del mod topLvl">
          <ac:chgData name="Kaan Aydin" userId="806ac4fb-eee5-4f85-962b-93e58f7d516c" providerId="ADAL" clId="{D060BC77-27F7-4805-9C05-418EFAFAD8FA}" dt="2023-05-19T00:23:45.212" v="5244" actId="478"/>
          <ac:cxnSpMkLst>
            <pc:docMk/>
            <pc:sldMk cId="785689267" sldId="3207"/>
            <ac:cxnSpMk id="41" creationId="{A8D6A4E2-35FE-460B-919B-B5069387B845}"/>
          </ac:cxnSpMkLst>
        </pc:cxnChg>
        <pc:cxnChg chg="add del mod topLvl">
          <ac:chgData name="Kaan Aydin" userId="806ac4fb-eee5-4f85-962b-93e58f7d516c" providerId="ADAL" clId="{D060BC77-27F7-4805-9C05-418EFAFAD8FA}" dt="2023-05-19T00:23:46.382" v="5245" actId="478"/>
          <ac:cxnSpMkLst>
            <pc:docMk/>
            <pc:sldMk cId="785689267" sldId="3207"/>
            <ac:cxnSpMk id="42" creationId="{0D5C9B96-7E37-48F5-8C59-E16A675F1F51}"/>
          </ac:cxnSpMkLst>
        </pc:cxnChg>
        <pc:cxnChg chg="add mod topLvl">
          <ac:chgData name="Kaan Aydin" userId="806ac4fb-eee5-4f85-962b-93e58f7d516c" providerId="ADAL" clId="{D060BC77-27F7-4805-9C05-418EFAFAD8FA}" dt="2023-05-19T21:55:45.481" v="22190" actId="164"/>
          <ac:cxnSpMkLst>
            <pc:docMk/>
            <pc:sldMk cId="785689267" sldId="3207"/>
            <ac:cxnSpMk id="46" creationId="{4D54E876-C8DD-43F3-9D1C-1A103FF3E18E}"/>
          </ac:cxnSpMkLst>
        </pc:cxnChg>
        <pc:cxnChg chg="add mod topLvl">
          <ac:chgData name="Kaan Aydin" userId="806ac4fb-eee5-4f85-962b-93e58f7d516c" providerId="ADAL" clId="{D060BC77-27F7-4805-9C05-418EFAFAD8FA}" dt="2023-05-19T21:55:45.481" v="22190" actId="164"/>
          <ac:cxnSpMkLst>
            <pc:docMk/>
            <pc:sldMk cId="785689267" sldId="3207"/>
            <ac:cxnSpMk id="47" creationId="{D45B9820-43EE-4BC4-A897-45DE57E77E7B}"/>
          </ac:cxnSpMkLst>
        </pc:cxnChg>
      </pc:sldChg>
    </pc:docChg>
  </pc:docChgLst>
  <pc:docChgLst>
    <pc:chgData name="Aydin, Kaan" userId="806ac4fb-eee5-4f85-962b-93e58f7d516c" providerId="ADAL" clId="{B011BF60-E402-AA48-95E6-7F3AC285AC26}"/>
    <pc:docChg chg="undo custSel addSld delSld modSld">
      <pc:chgData name="Aydin, Kaan" userId="806ac4fb-eee5-4f85-962b-93e58f7d516c" providerId="ADAL" clId="{B011BF60-E402-AA48-95E6-7F3AC285AC26}" dt="2023-05-22T11:18:28.337" v="33" actId="20577"/>
      <pc:docMkLst>
        <pc:docMk/>
      </pc:docMkLst>
      <pc:sldChg chg="modSp">
        <pc:chgData name="Aydin, Kaan" userId="806ac4fb-eee5-4f85-962b-93e58f7d516c" providerId="ADAL" clId="{B011BF60-E402-AA48-95E6-7F3AC285AC26}" dt="2023-05-20T17:05:12.157" v="7" actId="255"/>
        <pc:sldMkLst>
          <pc:docMk/>
          <pc:sldMk cId="641653763" sldId="3205"/>
        </pc:sldMkLst>
        <pc:spChg chg="mod">
          <ac:chgData name="Aydin, Kaan" userId="806ac4fb-eee5-4f85-962b-93e58f7d516c" providerId="ADAL" clId="{B011BF60-E402-AA48-95E6-7F3AC285AC26}" dt="2023-05-20T17:05:12.157" v="7" actId="255"/>
          <ac:spMkLst>
            <pc:docMk/>
            <pc:sldMk cId="641653763" sldId="3205"/>
            <ac:spMk id="18" creationId="{046B607F-C9C8-470A-A17B-31C4A09E7A7E}"/>
          </ac:spMkLst>
        </pc:spChg>
        <pc:spChg chg="mod">
          <ac:chgData name="Aydin, Kaan" userId="806ac4fb-eee5-4f85-962b-93e58f7d516c" providerId="ADAL" clId="{B011BF60-E402-AA48-95E6-7F3AC285AC26}" dt="2023-05-20T17:05:12.157" v="7" actId="255"/>
          <ac:spMkLst>
            <pc:docMk/>
            <pc:sldMk cId="641653763" sldId="3205"/>
            <ac:spMk id="19" creationId="{2365B9CE-C52A-4A70-B031-8BC883446E35}"/>
          </ac:spMkLst>
        </pc:spChg>
        <pc:spChg chg="mod">
          <ac:chgData name="Aydin, Kaan" userId="806ac4fb-eee5-4f85-962b-93e58f7d516c" providerId="ADAL" clId="{B011BF60-E402-AA48-95E6-7F3AC285AC26}" dt="2023-05-20T17:05:12.157" v="7" actId="255"/>
          <ac:spMkLst>
            <pc:docMk/>
            <pc:sldMk cId="641653763" sldId="3205"/>
            <ac:spMk id="20" creationId="{B4304155-3969-42ED-B776-A10C5125C953}"/>
          </ac:spMkLst>
        </pc:spChg>
        <pc:spChg chg="mod">
          <ac:chgData name="Aydin, Kaan" userId="806ac4fb-eee5-4f85-962b-93e58f7d516c" providerId="ADAL" clId="{B011BF60-E402-AA48-95E6-7F3AC285AC26}" dt="2023-05-20T17:05:12.157" v="7" actId="255"/>
          <ac:spMkLst>
            <pc:docMk/>
            <pc:sldMk cId="641653763" sldId="3205"/>
            <ac:spMk id="21" creationId="{154A4CFE-DDD9-40C1-839A-0255C461E215}"/>
          </ac:spMkLst>
        </pc:spChg>
        <pc:spChg chg="mod">
          <ac:chgData name="Aydin, Kaan" userId="806ac4fb-eee5-4f85-962b-93e58f7d516c" providerId="ADAL" clId="{B011BF60-E402-AA48-95E6-7F3AC285AC26}" dt="2023-05-20T17:05:12.157" v="7" actId="255"/>
          <ac:spMkLst>
            <pc:docMk/>
            <pc:sldMk cId="641653763" sldId="3205"/>
            <ac:spMk id="22" creationId="{C8CB5717-3662-4B39-8026-07394771550D}"/>
          </ac:spMkLst>
        </pc:spChg>
      </pc:sldChg>
      <pc:sldChg chg="modNotesTx">
        <pc:chgData name="Aydin, Kaan" userId="806ac4fb-eee5-4f85-962b-93e58f7d516c" providerId="ADAL" clId="{B011BF60-E402-AA48-95E6-7F3AC285AC26}" dt="2023-05-22T09:53:46.550" v="28" actId="12"/>
        <pc:sldMkLst>
          <pc:docMk/>
          <pc:sldMk cId="2490957990" sldId="3206"/>
        </pc:sldMkLst>
      </pc:sldChg>
      <pc:sldChg chg="delSp modSp mod">
        <pc:chgData name="Aydin, Kaan" userId="806ac4fb-eee5-4f85-962b-93e58f7d516c" providerId="ADAL" clId="{B011BF60-E402-AA48-95E6-7F3AC285AC26}" dt="2023-05-20T08:30:03.009" v="2" actId="478"/>
        <pc:sldMkLst>
          <pc:docMk/>
          <pc:sldMk cId="785689267" sldId="3207"/>
        </pc:sldMkLst>
        <pc:spChg chg="mod">
          <ac:chgData name="Aydin, Kaan" userId="806ac4fb-eee5-4f85-962b-93e58f7d516c" providerId="ADAL" clId="{B011BF60-E402-AA48-95E6-7F3AC285AC26}" dt="2023-05-20T08:17:43.388" v="1" actId="1076"/>
          <ac:spMkLst>
            <pc:docMk/>
            <pc:sldMk cId="785689267" sldId="3207"/>
            <ac:spMk id="18" creationId="{F53A36BB-CB92-467C-AE9D-9FF9282C40D0}"/>
          </ac:spMkLst>
        </pc:spChg>
        <pc:spChg chg="del">
          <ac:chgData name="Aydin, Kaan" userId="806ac4fb-eee5-4f85-962b-93e58f7d516c" providerId="ADAL" clId="{B011BF60-E402-AA48-95E6-7F3AC285AC26}" dt="2023-05-20T08:30:03.009" v="2" actId="478"/>
          <ac:spMkLst>
            <pc:docMk/>
            <pc:sldMk cId="785689267" sldId="3207"/>
            <ac:spMk id="26" creationId="{098D879E-D9F3-4CC3-9896-89831B831EA1}"/>
          </ac:spMkLst>
        </pc:spChg>
        <pc:spChg chg="mod">
          <ac:chgData name="Aydin, Kaan" userId="806ac4fb-eee5-4f85-962b-93e58f7d516c" providerId="ADAL" clId="{B011BF60-E402-AA48-95E6-7F3AC285AC26}" dt="2023-05-20T08:17:43.388" v="1" actId="1076"/>
          <ac:spMkLst>
            <pc:docMk/>
            <pc:sldMk cId="785689267" sldId="3207"/>
            <ac:spMk id="27" creationId="{98A9886D-9876-4D80-AD34-9524991DEB50}"/>
          </ac:spMkLst>
        </pc:spChg>
        <pc:spChg chg="mod">
          <ac:chgData name="Aydin, Kaan" userId="806ac4fb-eee5-4f85-962b-93e58f7d516c" providerId="ADAL" clId="{B011BF60-E402-AA48-95E6-7F3AC285AC26}" dt="2023-05-20T08:17:43.388" v="1" actId="1076"/>
          <ac:spMkLst>
            <pc:docMk/>
            <pc:sldMk cId="785689267" sldId="3207"/>
            <ac:spMk id="28" creationId="{32890AC7-A87C-4D89-A9B7-7A144A1218B4}"/>
          </ac:spMkLst>
        </pc:spChg>
        <pc:spChg chg="mod">
          <ac:chgData name="Aydin, Kaan" userId="806ac4fb-eee5-4f85-962b-93e58f7d516c" providerId="ADAL" clId="{B011BF60-E402-AA48-95E6-7F3AC285AC26}" dt="2023-05-20T08:17:43.388" v="1" actId="1076"/>
          <ac:spMkLst>
            <pc:docMk/>
            <pc:sldMk cId="785689267" sldId="3207"/>
            <ac:spMk id="29" creationId="{83CA8514-B0F7-4384-A1BF-A4D9DABDF4CA}"/>
          </ac:spMkLst>
        </pc:spChg>
        <pc:spChg chg="mod">
          <ac:chgData name="Aydin, Kaan" userId="806ac4fb-eee5-4f85-962b-93e58f7d516c" providerId="ADAL" clId="{B011BF60-E402-AA48-95E6-7F3AC285AC26}" dt="2023-05-20T08:17:43.388" v="1" actId="1076"/>
          <ac:spMkLst>
            <pc:docMk/>
            <pc:sldMk cId="785689267" sldId="3207"/>
            <ac:spMk id="30" creationId="{402E01B9-DF68-4D7A-98E6-EF86855E8790}"/>
          </ac:spMkLst>
        </pc:spChg>
        <pc:spChg chg="mod">
          <ac:chgData name="Aydin, Kaan" userId="806ac4fb-eee5-4f85-962b-93e58f7d516c" providerId="ADAL" clId="{B011BF60-E402-AA48-95E6-7F3AC285AC26}" dt="2023-05-20T08:17:43.388" v="1" actId="1076"/>
          <ac:spMkLst>
            <pc:docMk/>
            <pc:sldMk cId="785689267" sldId="3207"/>
            <ac:spMk id="31" creationId="{08089421-98D1-40EF-80AD-3B5AFD6E9878}"/>
          </ac:spMkLst>
        </pc:spChg>
        <pc:spChg chg="mod">
          <ac:chgData name="Aydin, Kaan" userId="806ac4fb-eee5-4f85-962b-93e58f7d516c" providerId="ADAL" clId="{B011BF60-E402-AA48-95E6-7F3AC285AC26}" dt="2023-05-20T08:17:43.388" v="1" actId="1076"/>
          <ac:spMkLst>
            <pc:docMk/>
            <pc:sldMk cId="785689267" sldId="3207"/>
            <ac:spMk id="32" creationId="{9B03D03E-9F67-449B-A21C-AFEDAFC6A2DF}"/>
          </ac:spMkLst>
        </pc:spChg>
        <pc:spChg chg="mod">
          <ac:chgData name="Aydin, Kaan" userId="806ac4fb-eee5-4f85-962b-93e58f7d516c" providerId="ADAL" clId="{B011BF60-E402-AA48-95E6-7F3AC285AC26}" dt="2023-05-20T08:17:43.388" v="1" actId="1076"/>
          <ac:spMkLst>
            <pc:docMk/>
            <pc:sldMk cId="785689267" sldId="3207"/>
            <ac:spMk id="33" creationId="{269D0FFA-3A56-47A3-AC7E-DA65D74A830E}"/>
          </ac:spMkLst>
        </pc:spChg>
        <pc:spChg chg="mod">
          <ac:chgData name="Aydin, Kaan" userId="806ac4fb-eee5-4f85-962b-93e58f7d516c" providerId="ADAL" clId="{B011BF60-E402-AA48-95E6-7F3AC285AC26}" dt="2023-05-20T08:17:43.388" v="1" actId="1076"/>
          <ac:spMkLst>
            <pc:docMk/>
            <pc:sldMk cId="785689267" sldId="3207"/>
            <ac:spMk id="34" creationId="{7E337829-4A4F-4E5F-87BE-04014C670FDB}"/>
          </ac:spMkLst>
        </pc:spChg>
        <pc:spChg chg="mod">
          <ac:chgData name="Aydin, Kaan" userId="806ac4fb-eee5-4f85-962b-93e58f7d516c" providerId="ADAL" clId="{B011BF60-E402-AA48-95E6-7F3AC285AC26}" dt="2023-05-20T08:17:43.388" v="1" actId="1076"/>
          <ac:spMkLst>
            <pc:docMk/>
            <pc:sldMk cId="785689267" sldId="3207"/>
            <ac:spMk id="49" creationId="{EF1CD033-5942-47FA-85F8-52BEE83F95C4}"/>
          </ac:spMkLst>
        </pc:spChg>
        <pc:spChg chg="mod">
          <ac:chgData name="Aydin, Kaan" userId="806ac4fb-eee5-4f85-962b-93e58f7d516c" providerId="ADAL" clId="{B011BF60-E402-AA48-95E6-7F3AC285AC26}" dt="2023-05-20T08:17:43.388" v="1" actId="1076"/>
          <ac:spMkLst>
            <pc:docMk/>
            <pc:sldMk cId="785689267" sldId="3207"/>
            <ac:spMk id="52" creationId="{CBF3B004-EF22-4538-9C19-4AAE0864DEF4}"/>
          </ac:spMkLst>
        </pc:spChg>
        <pc:grpChg chg="mod">
          <ac:chgData name="Aydin, Kaan" userId="806ac4fb-eee5-4f85-962b-93e58f7d516c" providerId="ADAL" clId="{B011BF60-E402-AA48-95E6-7F3AC285AC26}" dt="2023-05-20T08:17:43.388" v="1" actId="1076"/>
          <ac:grpSpMkLst>
            <pc:docMk/>
            <pc:sldMk cId="785689267" sldId="3207"/>
            <ac:grpSpMk id="41" creationId="{526ED631-AFE7-439A-ADCE-F571B38DF12D}"/>
          </ac:grpSpMkLst>
        </pc:grpChg>
        <pc:cxnChg chg="mod">
          <ac:chgData name="Aydin, Kaan" userId="806ac4fb-eee5-4f85-962b-93e58f7d516c" providerId="ADAL" clId="{B011BF60-E402-AA48-95E6-7F3AC285AC26}" dt="2023-05-20T08:17:43.388" v="1" actId="1076"/>
          <ac:cxnSpMkLst>
            <pc:docMk/>
            <pc:sldMk cId="785689267" sldId="3207"/>
            <ac:cxnSpMk id="46" creationId="{4D54E876-C8DD-43F3-9D1C-1A103FF3E18E}"/>
          </ac:cxnSpMkLst>
        </pc:cxnChg>
        <pc:cxnChg chg="mod">
          <ac:chgData name="Aydin, Kaan" userId="806ac4fb-eee5-4f85-962b-93e58f7d516c" providerId="ADAL" clId="{B011BF60-E402-AA48-95E6-7F3AC285AC26}" dt="2023-05-20T08:17:43.388" v="1" actId="1076"/>
          <ac:cxnSpMkLst>
            <pc:docMk/>
            <pc:sldMk cId="785689267" sldId="3207"/>
            <ac:cxnSpMk id="47" creationId="{D45B9820-43EE-4BC4-A897-45DE57E77E7B}"/>
          </ac:cxnSpMkLst>
        </pc:cxnChg>
      </pc:sldChg>
      <pc:sldChg chg="modSp mod">
        <pc:chgData name="Aydin, Kaan" userId="806ac4fb-eee5-4f85-962b-93e58f7d516c" providerId="ADAL" clId="{B011BF60-E402-AA48-95E6-7F3AC285AC26}" dt="2023-05-22T11:18:28.337" v="33" actId="20577"/>
        <pc:sldMkLst>
          <pc:docMk/>
          <pc:sldMk cId="1791784357" sldId="3208"/>
        </pc:sldMkLst>
        <pc:spChg chg="mod">
          <ac:chgData name="Aydin, Kaan" userId="806ac4fb-eee5-4f85-962b-93e58f7d516c" providerId="ADAL" clId="{B011BF60-E402-AA48-95E6-7F3AC285AC26}" dt="2023-05-22T11:18:28.337" v="33" actId="20577"/>
          <ac:spMkLst>
            <pc:docMk/>
            <pc:sldMk cId="1791784357" sldId="3208"/>
            <ac:spMk id="3" creationId="{56C86766-88B1-33B4-6C82-A24CE94818B7}"/>
          </ac:spMkLst>
        </pc:spChg>
      </pc:sldChg>
      <pc:sldChg chg="addSp delSp modSp new del mod">
        <pc:chgData name="Aydin, Kaan" userId="806ac4fb-eee5-4f85-962b-93e58f7d516c" providerId="ADAL" clId="{B011BF60-E402-AA48-95E6-7F3AC285AC26}" dt="2023-05-21T14:12:50.302" v="22" actId="2696"/>
        <pc:sldMkLst>
          <pc:docMk/>
          <pc:sldMk cId="2299165956" sldId="3209"/>
        </pc:sldMkLst>
        <pc:picChg chg="add del mod modCrop">
          <ac:chgData name="Aydin, Kaan" userId="806ac4fb-eee5-4f85-962b-93e58f7d516c" providerId="ADAL" clId="{B011BF60-E402-AA48-95E6-7F3AC285AC26}" dt="2023-05-21T14:12:47.672" v="21" actId="478"/>
          <ac:picMkLst>
            <pc:docMk/>
            <pc:sldMk cId="2299165956" sldId="3209"/>
            <ac:picMk id="6" creationId="{00E49346-6677-D95E-0723-E45E5E711A9E}"/>
          </ac:picMkLst>
        </pc:picChg>
      </pc:sldChg>
    </pc:docChg>
  </pc:docChgLst>
  <pc:docChgLst>
    <pc:chgData name="Pfammatter, Florence" userId="S::florence.pfammatter@student.unisg.ch::52ee0349-382c-4ec9-879a-6cd059ae8008" providerId="AD" clId="Web-{FC696E18-0A10-4FBD-8DFE-C01F0BA68B5B}"/>
    <pc:docChg chg="modSld">
      <pc:chgData name="Pfammatter, Florence" userId="S::florence.pfammatter@student.unisg.ch::52ee0349-382c-4ec9-879a-6cd059ae8008" providerId="AD" clId="Web-{FC696E18-0A10-4FBD-8DFE-C01F0BA68B5B}" dt="2023-05-22T08:12:41.032" v="13"/>
      <pc:docMkLst>
        <pc:docMk/>
      </pc:docMkLst>
      <pc:sldChg chg="addSp delSp modSp addAnim">
        <pc:chgData name="Pfammatter, Florence" userId="S::florence.pfammatter@student.unisg.ch::52ee0349-382c-4ec9-879a-6cd059ae8008" providerId="AD" clId="Web-{FC696E18-0A10-4FBD-8DFE-C01F0BA68B5B}" dt="2023-05-22T08:12:41.032" v="13"/>
        <pc:sldMkLst>
          <pc:docMk/>
          <pc:sldMk cId="19961751" sldId="3203"/>
        </pc:sldMkLst>
        <pc:spChg chg="add mod">
          <ac:chgData name="Pfammatter, Florence" userId="S::florence.pfammatter@student.unisg.ch::52ee0349-382c-4ec9-879a-6cd059ae8008" providerId="AD" clId="Web-{FC696E18-0A10-4FBD-8DFE-C01F0BA68B5B}" dt="2023-05-22T08:10:45.264" v="1" actId="1076"/>
          <ac:spMkLst>
            <pc:docMk/>
            <pc:sldMk cId="19961751" sldId="3203"/>
            <ac:spMk id="30" creationId="{60DFBD54-1E97-DC1A-EC21-9582B71A9989}"/>
          </ac:spMkLst>
        </pc:spChg>
        <pc:spChg chg="add mod">
          <ac:chgData name="Pfammatter, Florence" userId="S::florence.pfammatter@student.unisg.ch::52ee0349-382c-4ec9-879a-6cd059ae8008" providerId="AD" clId="Web-{FC696E18-0A10-4FBD-8DFE-C01F0BA68B5B}" dt="2023-05-22T08:12:37.641" v="12" actId="20577"/>
          <ac:spMkLst>
            <pc:docMk/>
            <pc:sldMk cId="19961751" sldId="3203"/>
            <ac:spMk id="34" creationId="{7AEAEC9C-E703-466A-D543-619DC6321DB4}"/>
          </ac:spMkLst>
        </pc:spChg>
        <pc:cxnChg chg="add del mod">
          <ac:chgData name="Pfammatter, Florence" userId="S::florence.pfammatter@student.unisg.ch::52ee0349-382c-4ec9-879a-6cd059ae8008" providerId="AD" clId="Web-{FC696E18-0A10-4FBD-8DFE-C01F0BA68B5B}" dt="2023-05-22T08:12:41.032" v="13"/>
          <ac:cxnSpMkLst>
            <pc:docMk/>
            <pc:sldMk cId="19961751" sldId="3203"/>
            <ac:cxnSpMk id="32" creationId="{C361B2E9-06D9-A09C-C3F1-529C292D5A66}"/>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C7F_1492420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C7F_14924208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C7F_14924208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C7F_14924208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C7F_14924208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850185630050232E-2"/>
          <c:y val="2.3941068139963169E-2"/>
          <c:w val="0.91963310766542916"/>
          <c:h val="0.82872928176795579"/>
        </c:manualLayout>
      </c:layout>
      <c:scatterChart>
        <c:scatterStyle val="lineMarker"/>
        <c:varyColors val="0"/>
        <c:ser>
          <c:idx val="0"/>
          <c:order val="0"/>
          <c:smooth val="0"/>
          <c:extLst>
            <c:ext xmlns:c16="http://schemas.microsoft.com/office/drawing/2014/chart" uri="{C3380CC4-5D6E-409C-BE32-E72D297353CC}">
              <c16:uniqueId val="{00000000-5FF0-42A5-ACFC-B5E4696111CF}"/>
            </c:ext>
          </c:extLst>
        </c:ser>
        <c:dLbls>
          <c:showLegendKey val="0"/>
          <c:showVal val="0"/>
          <c:showCatName val="0"/>
          <c:showSerName val="0"/>
          <c:showPercent val="0"/>
          <c:showBubbleSize val="0"/>
        </c:dLbls>
        <c:axId val="4"/>
        <c:axId val="5"/>
      </c:scatterChart>
      <c:valAx>
        <c:axId val="4"/>
        <c:scaling>
          <c:orientation val="minMax"/>
          <c:max val="100"/>
          <c:min val="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Titillium Web"/>
                <a:ea typeface="Titillium Web"/>
                <a:cs typeface="Titillium Web"/>
                <a:sym typeface="Titillium Web"/>
              </a:defRPr>
            </a:pPr>
            <a:endParaRPr lang="en-US"/>
          </a:p>
        </c:txPr>
        <c:crossAx val="5"/>
        <c:crosses val="min"/>
        <c:crossBetween val="midCat"/>
        <c:majorUnit val="5"/>
      </c:valAx>
      <c:valAx>
        <c:axId val="5"/>
        <c:scaling>
          <c:orientation val="minMax"/>
          <c:max val="65"/>
          <c:min val="10.247999999999999"/>
        </c:scaling>
        <c:delete val="0"/>
        <c:axPos val="l"/>
        <c:majorGridlines>
          <c:spPr>
            <a:ln>
              <a:noFill/>
            </a:ln>
          </c:spPr>
        </c:majorGridlines>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6776514272453E-2"/>
          <c:y val="2.7310924369747899E-2"/>
          <c:w val="0.97586446971455099"/>
          <c:h val="0.94537815126050417"/>
        </c:manualLayout>
      </c:layout>
      <c:lineChart>
        <c:grouping val="standard"/>
        <c:varyColors val="0"/>
        <c:ser>
          <c:idx val="0"/>
          <c:order val="0"/>
          <c:spPr>
            <a:ln w="19050" cmpd="sng" algn="ctr">
              <a:solidFill>
                <a:srgbClr val="4C6C9C"/>
              </a:solidFill>
              <a:prstDash val="solid"/>
            </a:ln>
          </c:spPr>
          <c:marker>
            <c:symbol val="none"/>
          </c:marker>
          <c:val>
            <c:numRef>
              <c:f>Sheet1!$A$1:$CI$1</c:f>
              <c:numCache>
                <c:formatCode>General</c:formatCode>
                <c:ptCount val="87"/>
                <c:pt idx="69">
                  <c:v>0.31445000000000001</c:v>
                </c:pt>
                <c:pt idx="70">
                  <c:v>0.44080000000000003</c:v>
                </c:pt>
                <c:pt idx="71">
                  <c:v>0.50304000000000004</c:v>
                </c:pt>
                <c:pt idx="72">
                  <c:v>0.44407999999999997</c:v>
                </c:pt>
                <c:pt idx="73">
                  <c:v>0.55591000000000002</c:v>
                </c:pt>
                <c:pt idx="74">
                  <c:v>0.55123999999999995</c:v>
                </c:pt>
                <c:pt idx="75">
                  <c:v>0.53859999999999997</c:v>
                </c:pt>
                <c:pt idx="76">
                  <c:v>0.50865000000000005</c:v>
                </c:pt>
                <c:pt idx="77">
                  <c:v>0.57369999999999999</c:v>
                </c:pt>
                <c:pt idx="78">
                  <c:v>0.53532000000000002</c:v>
                </c:pt>
                <c:pt idx="79">
                  <c:v>0.56059000000000003</c:v>
                </c:pt>
                <c:pt idx="80">
                  <c:v>0.48337999999999998</c:v>
                </c:pt>
                <c:pt idx="81">
                  <c:v>0.57369999999999999</c:v>
                </c:pt>
                <c:pt idx="82">
                  <c:v>0.53110999999999997</c:v>
                </c:pt>
                <c:pt idx="83">
                  <c:v>0.42115000000000002</c:v>
                </c:pt>
                <c:pt idx="84">
                  <c:v>0.39822000000000002</c:v>
                </c:pt>
                <c:pt idx="85">
                  <c:v>0.38933000000000001</c:v>
                </c:pt>
                <c:pt idx="86">
                  <c:v>0.50022999999999995</c:v>
                </c:pt>
              </c:numCache>
            </c:numRef>
          </c:val>
          <c:smooth val="0"/>
          <c:extLst>
            <c:ext xmlns:c16="http://schemas.microsoft.com/office/drawing/2014/chart" uri="{C3380CC4-5D6E-409C-BE32-E72D297353CC}">
              <c16:uniqueId val="{00000000-4B84-48F8-BE98-6183B236C78E}"/>
            </c:ext>
          </c:extLst>
        </c:ser>
        <c:dLbls>
          <c:showLegendKey val="0"/>
          <c:showVal val="0"/>
          <c:showCatName val="0"/>
          <c:showSerName val="0"/>
          <c:showPercent val="0"/>
          <c:showBubbleSize val="0"/>
        </c:dLbls>
        <c:smooth val="0"/>
        <c:axId val="326858576"/>
        <c:axId val="1"/>
      </c:lineChart>
      <c:catAx>
        <c:axId val="326858576"/>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0.65"/>
          <c:min val="0.10248"/>
        </c:scaling>
        <c:delete val="1"/>
        <c:axPos val="l"/>
        <c:numFmt formatCode="General" sourceLinked="1"/>
        <c:majorTickMark val="out"/>
        <c:minorTickMark val="none"/>
        <c:tickLblPos val="nextTo"/>
        <c:crossAx val="326858576"/>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93023255813953E-2"/>
          <c:y val="2.7310924369747899E-2"/>
          <c:w val="0.97581395348837208"/>
          <c:h val="0.94537815126050417"/>
        </c:manualLayout>
      </c:layout>
      <c:lineChart>
        <c:grouping val="standard"/>
        <c:varyColors val="0"/>
        <c:ser>
          <c:idx val="0"/>
          <c:order val="0"/>
          <c:spPr>
            <a:ln w="19050" cmpd="sng" algn="ctr">
              <a:solidFill>
                <a:schemeClr val="accent5"/>
              </a:solidFill>
              <a:prstDash val="solid"/>
            </a:ln>
          </c:spPr>
          <c:marker>
            <c:symbol val="none"/>
          </c:marker>
          <c:val>
            <c:numRef>
              <c:f>Sheet1!$A$1:$CI$1</c:f>
              <c:numCache>
                <c:formatCode>General</c:formatCode>
                <c:ptCount val="87"/>
                <c:pt idx="50">
                  <c:v>0.59943000000000002</c:v>
                </c:pt>
                <c:pt idx="51">
                  <c:v>0.56152999999999997</c:v>
                </c:pt>
                <c:pt idx="52">
                  <c:v>0.60645000000000004</c:v>
                </c:pt>
                <c:pt idx="53">
                  <c:v>0.58679999999999999</c:v>
                </c:pt>
                <c:pt idx="54">
                  <c:v>0.50538000000000005</c:v>
                </c:pt>
                <c:pt idx="55">
                  <c:v>0.59428999999999998</c:v>
                </c:pt>
                <c:pt idx="56">
                  <c:v>0.60926000000000002</c:v>
                </c:pt>
                <c:pt idx="57">
                  <c:v>0.61441000000000001</c:v>
                </c:pt>
                <c:pt idx="58">
                  <c:v>0.62563999999999997</c:v>
                </c:pt>
                <c:pt idx="59">
                  <c:v>0.62377000000000005</c:v>
                </c:pt>
                <c:pt idx="60">
                  <c:v>0.60084000000000004</c:v>
                </c:pt>
                <c:pt idx="61">
                  <c:v>0.54327999999999999</c:v>
                </c:pt>
                <c:pt idx="62">
                  <c:v>0.60926000000000002</c:v>
                </c:pt>
                <c:pt idx="63">
                  <c:v>0.57042000000000004</c:v>
                </c:pt>
                <c:pt idx="64">
                  <c:v>0.40195999999999998</c:v>
                </c:pt>
                <c:pt idx="65">
                  <c:v>0.40195999999999998</c:v>
                </c:pt>
                <c:pt idx="66">
                  <c:v>0.53298999999999996</c:v>
                </c:pt>
                <c:pt idx="67">
                  <c:v>0.51988000000000001</c:v>
                </c:pt>
                <c:pt idx="68">
                  <c:v>0.45202999999999999</c:v>
                </c:pt>
              </c:numCache>
            </c:numRef>
          </c:val>
          <c:smooth val="0"/>
          <c:extLst>
            <c:ext xmlns:c16="http://schemas.microsoft.com/office/drawing/2014/chart" uri="{C3380CC4-5D6E-409C-BE32-E72D297353CC}">
              <c16:uniqueId val="{00000000-2A77-4DC0-8F8D-77CA1D815202}"/>
            </c:ext>
          </c:extLst>
        </c:ser>
        <c:dLbls>
          <c:showLegendKey val="0"/>
          <c:showVal val="0"/>
          <c:showCatName val="0"/>
          <c:showSerName val="0"/>
          <c:showPercent val="0"/>
          <c:showBubbleSize val="0"/>
        </c:dLbls>
        <c:smooth val="0"/>
        <c:axId val="1918831664"/>
        <c:axId val="1"/>
      </c:lineChart>
      <c:catAx>
        <c:axId val="1918831664"/>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0.65"/>
          <c:min val="0.10248"/>
        </c:scaling>
        <c:delete val="1"/>
        <c:axPos val="l"/>
        <c:numFmt formatCode="General" sourceLinked="1"/>
        <c:majorTickMark val="out"/>
        <c:minorTickMark val="none"/>
        <c:tickLblPos val="nextTo"/>
        <c:crossAx val="1918831664"/>
        <c:crosses val="min"/>
        <c:crossBetween val="midCat"/>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93023255813953E-2"/>
          <c:y val="2.7310924369747899E-2"/>
          <c:w val="0.97581395348837208"/>
          <c:h val="0.94537815126050417"/>
        </c:manualLayout>
      </c:layout>
      <c:lineChart>
        <c:grouping val="standard"/>
        <c:varyColors val="0"/>
        <c:ser>
          <c:idx val="0"/>
          <c:order val="0"/>
          <c:spPr>
            <a:ln w="19050" cmpd="sng" algn="ctr">
              <a:solidFill>
                <a:srgbClr val="EA4235"/>
              </a:solidFill>
              <a:prstDash val="solid"/>
            </a:ln>
          </c:spPr>
          <c:marker>
            <c:symbol val="none"/>
          </c:marker>
          <c:val>
            <c:numRef>
              <c:f>Sheet1!$A$1:$CI$1</c:f>
              <c:numCache>
                <c:formatCode>General</c:formatCode>
                <c:ptCount val="87"/>
                <c:pt idx="40">
                  <c:v>0.41833999999999999</c:v>
                </c:pt>
                <c:pt idx="41">
                  <c:v>0.52129000000000003</c:v>
                </c:pt>
                <c:pt idx="42">
                  <c:v>0.61675000000000002</c:v>
                </c:pt>
                <c:pt idx="43">
                  <c:v>0.55030000000000001</c:v>
                </c:pt>
                <c:pt idx="44">
                  <c:v>0.60084000000000004</c:v>
                </c:pt>
                <c:pt idx="45">
                  <c:v>0.60738999999999999</c:v>
                </c:pt>
                <c:pt idx="46">
                  <c:v>0.55169999999999997</c:v>
                </c:pt>
                <c:pt idx="47">
                  <c:v>0.55498000000000003</c:v>
                </c:pt>
                <c:pt idx="48">
                  <c:v>0.36312</c:v>
                </c:pt>
                <c:pt idx="49">
                  <c:v>0.36077999999999999</c:v>
                </c:pt>
              </c:numCache>
            </c:numRef>
          </c:val>
          <c:smooth val="0"/>
          <c:extLst>
            <c:ext xmlns:c16="http://schemas.microsoft.com/office/drawing/2014/chart" uri="{C3380CC4-5D6E-409C-BE32-E72D297353CC}">
              <c16:uniqueId val="{00000000-DD1C-4EBA-9E62-96CB2487C38F}"/>
            </c:ext>
          </c:extLst>
        </c:ser>
        <c:dLbls>
          <c:showLegendKey val="0"/>
          <c:showVal val="0"/>
          <c:showCatName val="0"/>
          <c:showSerName val="0"/>
          <c:showPercent val="0"/>
          <c:showBubbleSize val="0"/>
        </c:dLbls>
        <c:smooth val="0"/>
        <c:axId val="326860576"/>
        <c:axId val="1"/>
      </c:lineChart>
      <c:catAx>
        <c:axId val="326860576"/>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0.65"/>
          <c:min val="0.10248"/>
        </c:scaling>
        <c:delete val="1"/>
        <c:axPos val="l"/>
        <c:numFmt formatCode="General" sourceLinked="1"/>
        <c:majorTickMark val="out"/>
        <c:minorTickMark val="none"/>
        <c:tickLblPos val="nextTo"/>
        <c:crossAx val="326860576"/>
        <c:crosses val="min"/>
        <c:crossBetween val="midCat"/>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50984936268831E-2"/>
          <c:y val="2.7310924369747899E-2"/>
          <c:w val="0.97589803012746235"/>
          <c:h val="0.94537815126050417"/>
        </c:manualLayout>
      </c:layout>
      <c:lineChart>
        <c:grouping val="standard"/>
        <c:varyColors val="0"/>
        <c:ser>
          <c:idx val="0"/>
          <c:order val="0"/>
          <c:spPr>
            <a:ln w="19050" cmpd="sng" algn="ctr">
              <a:solidFill>
                <a:srgbClr val="C30C3E"/>
              </a:solidFill>
              <a:prstDash val="solid"/>
            </a:ln>
          </c:spPr>
          <c:marker>
            <c:symbol val="none"/>
          </c:marker>
          <c:val>
            <c:numRef>
              <c:f>Sheet1!$A$1:$CI$1</c:f>
              <c:numCache>
                <c:formatCode>General</c:formatCode>
                <c:ptCount val="87"/>
                <c:pt idx="0">
                  <c:v>0.39588000000000001</c:v>
                </c:pt>
                <c:pt idx="1">
                  <c:v>0.39446999999999999</c:v>
                </c:pt>
                <c:pt idx="2">
                  <c:v>0.10248</c:v>
                </c:pt>
                <c:pt idx="3">
                  <c:v>0.27749000000000001</c:v>
                </c:pt>
                <c:pt idx="4">
                  <c:v>0.27749000000000001</c:v>
                </c:pt>
                <c:pt idx="5">
                  <c:v>0.33784999999999998</c:v>
                </c:pt>
                <c:pt idx="6">
                  <c:v>0.50958999999999999</c:v>
                </c:pt>
                <c:pt idx="7">
                  <c:v>0.51285999999999998</c:v>
                </c:pt>
                <c:pt idx="8">
                  <c:v>0.57791000000000003</c:v>
                </c:pt>
                <c:pt idx="9">
                  <c:v>0.56059000000000003</c:v>
                </c:pt>
                <c:pt idx="10">
                  <c:v>0.51099000000000006</c:v>
                </c:pt>
                <c:pt idx="11">
                  <c:v>0.51099000000000006</c:v>
                </c:pt>
                <c:pt idx="12">
                  <c:v>0.52408999999999994</c:v>
                </c:pt>
                <c:pt idx="13">
                  <c:v>0.58492999999999995</c:v>
                </c:pt>
                <c:pt idx="14">
                  <c:v>0.57650000000000001</c:v>
                </c:pt>
                <c:pt idx="15">
                  <c:v>0.53954000000000002</c:v>
                </c:pt>
                <c:pt idx="16">
                  <c:v>0.56340000000000001</c:v>
                </c:pt>
                <c:pt idx="17">
                  <c:v>0.57743999999999995</c:v>
                </c:pt>
                <c:pt idx="18">
                  <c:v>0.55545</c:v>
                </c:pt>
                <c:pt idx="19">
                  <c:v>0.48992999999999998</c:v>
                </c:pt>
                <c:pt idx="20">
                  <c:v>0.57509999999999994</c:v>
                </c:pt>
                <c:pt idx="21">
                  <c:v>0.58118000000000003</c:v>
                </c:pt>
                <c:pt idx="22">
                  <c:v>0.44361</c:v>
                </c:pt>
                <c:pt idx="23">
                  <c:v>0.57650000000000001</c:v>
                </c:pt>
                <c:pt idx="24">
                  <c:v>0.50022999999999995</c:v>
                </c:pt>
                <c:pt idx="25">
                  <c:v>0.53064999999999996</c:v>
                </c:pt>
                <c:pt idx="26">
                  <c:v>0.56667999999999996</c:v>
                </c:pt>
                <c:pt idx="27">
                  <c:v>0.56667999999999996</c:v>
                </c:pt>
                <c:pt idx="28">
                  <c:v>0.56947999999999999</c:v>
                </c:pt>
                <c:pt idx="29">
                  <c:v>0.50724999999999998</c:v>
                </c:pt>
                <c:pt idx="30">
                  <c:v>0.48899999999999999</c:v>
                </c:pt>
                <c:pt idx="31">
                  <c:v>0.55403999999999998</c:v>
                </c:pt>
                <c:pt idx="32">
                  <c:v>0.57650000000000001</c:v>
                </c:pt>
                <c:pt idx="33">
                  <c:v>0.58306000000000002</c:v>
                </c:pt>
                <c:pt idx="34">
                  <c:v>0.39588000000000001</c:v>
                </c:pt>
                <c:pt idx="35">
                  <c:v>0.48385</c:v>
                </c:pt>
                <c:pt idx="36">
                  <c:v>0.56386999999999998</c:v>
                </c:pt>
                <c:pt idx="37">
                  <c:v>0.58072000000000001</c:v>
                </c:pt>
                <c:pt idx="38">
                  <c:v>0.53954000000000002</c:v>
                </c:pt>
                <c:pt idx="39">
                  <c:v>0.28684999999999999</c:v>
                </c:pt>
              </c:numCache>
            </c:numRef>
          </c:val>
          <c:smooth val="0"/>
          <c:extLst>
            <c:ext xmlns:c16="http://schemas.microsoft.com/office/drawing/2014/chart" uri="{C3380CC4-5D6E-409C-BE32-E72D297353CC}">
              <c16:uniqueId val="{00000000-6A1A-4D6E-B24A-4DFD679823A5}"/>
            </c:ext>
          </c:extLst>
        </c:ser>
        <c:dLbls>
          <c:showLegendKey val="0"/>
          <c:showVal val="0"/>
          <c:showCatName val="0"/>
          <c:showSerName val="0"/>
          <c:showPercent val="0"/>
          <c:showBubbleSize val="0"/>
        </c:dLbls>
        <c:smooth val="0"/>
        <c:axId val="1918830464"/>
        <c:axId val="1"/>
      </c:lineChart>
      <c:catAx>
        <c:axId val="1918830464"/>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0.65"/>
          <c:min val="0.10248"/>
        </c:scaling>
        <c:delete val="1"/>
        <c:axPos val="l"/>
        <c:numFmt formatCode="General" sourceLinked="1"/>
        <c:majorTickMark val="out"/>
        <c:minorTickMark val="none"/>
        <c:tickLblPos val="nextTo"/>
        <c:crossAx val="1918830464"/>
        <c:crosses val="min"/>
        <c:crossBetween val="midCat"/>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43B9F7-3989-4A99-88EB-B60FB78D3FB6}" type="datetimeFigureOut">
              <a:rPr lang="en-US" smtClean="0"/>
              <a:t>5/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43EBA6-C39F-4A5F-84D2-2DF92FCB81D8}" type="slidenum">
              <a:rPr lang="en-US" smtClean="0"/>
              <a:t>‹#›</a:t>
            </a:fld>
            <a:endParaRPr lang="en-US"/>
          </a:p>
        </p:txBody>
      </p:sp>
    </p:spTree>
    <p:extLst>
      <p:ext uri="{BB962C8B-B14F-4D97-AF65-F5344CB8AC3E}">
        <p14:creationId xmlns:p14="http://schemas.microsoft.com/office/powerpoint/2010/main" val="196209438"/>
      </p:ext>
    </p:extLst>
  </p:cSld>
  <p:clrMap bg1="lt1" tx1="dk1" bg2="lt2" tx2="dk2" accent1="accent1" accent2="accent2" accent3="accent3" accent4="accent4" accent5="accent5" accent6="accent6" hlink="hlink" folHlink="folHlink"/>
  <p:notesStyle>
    <a:lvl1pPr marL="0" algn="l" defTabSz="914446" rtl="0" eaLnBrk="1" latinLnBrk="0" hangingPunct="1">
      <a:defRPr sz="1200" kern="1200">
        <a:solidFill>
          <a:schemeClr val="tx1"/>
        </a:solidFill>
        <a:latin typeface="+mn-lt"/>
        <a:ea typeface="+mn-ea"/>
        <a:cs typeface="+mn-cs"/>
      </a:defRPr>
    </a:lvl1pPr>
    <a:lvl2pPr marL="457223" algn="l" defTabSz="914446" rtl="0" eaLnBrk="1" latinLnBrk="0" hangingPunct="1">
      <a:defRPr sz="1200" kern="1200">
        <a:solidFill>
          <a:schemeClr val="tx1"/>
        </a:solidFill>
        <a:latin typeface="+mn-lt"/>
        <a:ea typeface="+mn-ea"/>
        <a:cs typeface="+mn-cs"/>
      </a:defRPr>
    </a:lvl2pPr>
    <a:lvl3pPr marL="914446" algn="l" defTabSz="914446" rtl="0" eaLnBrk="1" latinLnBrk="0" hangingPunct="1">
      <a:defRPr sz="1200" kern="1200">
        <a:solidFill>
          <a:schemeClr val="tx1"/>
        </a:solidFill>
        <a:latin typeface="+mn-lt"/>
        <a:ea typeface="+mn-ea"/>
        <a:cs typeface="+mn-cs"/>
      </a:defRPr>
    </a:lvl3pPr>
    <a:lvl4pPr marL="1371669" algn="l" defTabSz="914446" rtl="0" eaLnBrk="1" latinLnBrk="0" hangingPunct="1">
      <a:defRPr sz="1200" kern="1200">
        <a:solidFill>
          <a:schemeClr val="tx1"/>
        </a:solidFill>
        <a:latin typeface="+mn-lt"/>
        <a:ea typeface="+mn-ea"/>
        <a:cs typeface="+mn-cs"/>
      </a:defRPr>
    </a:lvl4pPr>
    <a:lvl5pPr marL="1828891" algn="l" defTabSz="914446" rtl="0" eaLnBrk="1" latinLnBrk="0" hangingPunct="1">
      <a:defRPr sz="1200" kern="1200">
        <a:solidFill>
          <a:schemeClr val="tx1"/>
        </a:solidFill>
        <a:latin typeface="+mn-lt"/>
        <a:ea typeface="+mn-ea"/>
        <a:cs typeface="+mn-cs"/>
      </a:defRPr>
    </a:lvl5pPr>
    <a:lvl6pPr marL="2286114" algn="l" defTabSz="914446" rtl="0" eaLnBrk="1" latinLnBrk="0" hangingPunct="1">
      <a:defRPr sz="1200" kern="1200">
        <a:solidFill>
          <a:schemeClr val="tx1"/>
        </a:solidFill>
        <a:latin typeface="+mn-lt"/>
        <a:ea typeface="+mn-ea"/>
        <a:cs typeface="+mn-cs"/>
      </a:defRPr>
    </a:lvl6pPr>
    <a:lvl7pPr marL="2743337" algn="l" defTabSz="914446" rtl="0" eaLnBrk="1" latinLnBrk="0" hangingPunct="1">
      <a:defRPr sz="1200" kern="1200">
        <a:solidFill>
          <a:schemeClr val="tx1"/>
        </a:solidFill>
        <a:latin typeface="+mn-lt"/>
        <a:ea typeface="+mn-ea"/>
        <a:cs typeface="+mn-cs"/>
      </a:defRPr>
    </a:lvl7pPr>
    <a:lvl8pPr marL="3200560" algn="l" defTabSz="914446" rtl="0" eaLnBrk="1" latinLnBrk="0" hangingPunct="1">
      <a:defRPr sz="1200" kern="1200">
        <a:solidFill>
          <a:schemeClr val="tx1"/>
        </a:solidFill>
        <a:latin typeface="+mn-lt"/>
        <a:ea typeface="+mn-ea"/>
        <a:cs typeface="+mn-cs"/>
      </a:defRPr>
    </a:lvl8pPr>
    <a:lvl9pPr marL="3657783" algn="l" defTabSz="91444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t>
            </a:r>
            <a:r>
              <a:rPr lang="en-US" err="1"/>
              <a:t>codebox.net</a:t>
            </a:r>
            <a:r>
              <a:rPr lang="en-US"/>
              <a:t>/pages/</a:t>
            </a:r>
            <a:r>
              <a:rPr lang="en-US" err="1"/>
              <a:t>tensorflow</a:t>
            </a:r>
            <a:r>
              <a:rPr lang="en-US"/>
              <a:t>-convnet-designer</a:t>
            </a:r>
          </a:p>
        </p:txBody>
      </p:sp>
      <p:sp>
        <p:nvSpPr>
          <p:cNvPr id="4" name="Slide Number Placeholder 3"/>
          <p:cNvSpPr>
            <a:spLocks noGrp="1"/>
          </p:cNvSpPr>
          <p:nvPr>
            <p:ph type="sldNum" sz="quarter" idx="5"/>
          </p:nvPr>
        </p:nvSpPr>
        <p:spPr/>
        <p:txBody>
          <a:bodyPr/>
          <a:lstStyle/>
          <a:p>
            <a:fld id="{7043EBA6-C39F-4A5F-84D2-2DF92FCB81D8}" type="slidenum">
              <a:rPr lang="en-US" smtClean="0"/>
              <a:t>1</a:t>
            </a:fld>
            <a:endParaRPr lang="en-US"/>
          </a:p>
        </p:txBody>
      </p:sp>
    </p:spTree>
    <p:extLst>
      <p:ext uri="{BB962C8B-B14F-4D97-AF65-F5344CB8AC3E}">
        <p14:creationId xmlns:p14="http://schemas.microsoft.com/office/powerpoint/2010/main" val="9996169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43EBA6-C39F-4A5F-84D2-2DF92FCB81D8}" type="slidenum">
              <a:rPr lang="en-US" smtClean="0"/>
              <a:t>11</a:t>
            </a:fld>
            <a:endParaRPr lang="en-US"/>
          </a:p>
        </p:txBody>
      </p:sp>
    </p:spTree>
    <p:extLst>
      <p:ext uri="{BB962C8B-B14F-4D97-AF65-F5344CB8AC3E}">
        <p14:creationId xmlns:p14="http://schemas.microsoft.com/office/powerpoint/2010/main" val="77189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43EBA6-C39F-4A5F-84D2-2DF92FCB81D8}" type="slidenum">
              <a:rPr lang="en-US" smtClean="0"/>
              <a:t>2</a:t>
            </a:fld>
            <a:endParaRPr lang="en-US"/>
          </a:p>
        </p:txBody>
      </p:sp>
    </p:spTree>
    <p:extLst>
      <p:ext uri="{BB962C8B-B14F-4D97-AF65-F5344CB8AC3E}">
        <p14:creationId xmlns:p14="http://schemas.microsoft.com/office/powerpoint/2010/main" val="3810087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43EBA6-C39F-4A5F-84D2-2DF92FCB81D8}" type="slidenum">
              <a:rPr lang="en-US" smtClean="0"/>
              <a:t>3</a:t>
            </a:fld>
            <a:endParaRPr lang="en-US"/>
          </a:p>
        </p:txBody>
      </p:sp>
    </p:spTree>
    <p:extLst>
      <p:ext uri="{BB962C8B-B14F-4D97-AF65-F5344CB8AC3E}">
        <p14:creationId xmlns:p14="http://schemas.microsoft.com/office/powerpoint/2010/main" val="2086292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CH" sz="1800" kern="100">
                <a:effectLst/>
                <a:latin typeface="Calibri" panose="020F0502020204030204" pitchFamily="34" charset="0"/>
                <a:ea typeface="Calibri" panose="020F0502020204030204" pitchFamily="34" charset="0"/>
                <a:cs typeface="Times New Roman" panose="02020603050405020304" pitchFamily="18" charset="0"/>
              </a:rPr>
              <a:t>We began our journey by implementing ResNet with default pretrained weights from PyTorch and applying basic data augmentations, including resizing, random rotation, padding, and normalization using ImageNet mean and standard deviation. While we explored alternative normalization values from the eurosat dataset, this adjustment did not result in significant improvements for our specific case.</a:t>
            </a:r>
          </a:p>
          <a:p>
            <a:endParaRPr lang="en-US"/>
          </a:p>
          <a:p>
            <a:pPr marL="0" marR="0" lvl="0" indent="0" algn="l" defTabSz="914446" rtl="0" eaLnBrk="1" fontAlgn="auto" latinLnBrk="0" hangingPunct="1">
              <a:lnSpc>
                <a:spcPct val="100000"/>
              </a:lnSpc>
              <a:spcBef>
                <a:spcPts val="0"/>
              </a:spcBef>
              <a:spcAft>
                <a:spcPts val="0"/>
              </a:spcAft>
              <a:buClrTx/>
              <a:buSzTx/>
              <a:buFontTx/>
              <a:buNone/>
              <a:tabLst/>
              <a:defRPr/>
            </a:pPr>
            <a:r>
              <a:rPr lang="en-US" sz="1800" kern="100">
                <a:effectLst/>
                <a:latin typeface="Calibri" panose="020F0502020204030204" pitchFamily="34" charset="0"/>
                <a:ea typeface="Calibri" panose="020F0502020204030204" pitchFamily="34" charset="0"/>
                <a:cs typeface="Times New Roman" panose="02020603050405020304" pitchFamily="18" charset="0"/>
              </a:rPr>
              <a:t>When using Resnet we quickly realized that we had serious problems with overfitting: To counteract that, we used the transformations listed above. We also did some additional experiments with L1, L2 regularization, further transformations such as flipping and </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colorjitter</a:t>
            </a:r>
            <a:r>
              <a:rPr lang="en-US" sz="1800" kern="100">
                <a:effectLst/>
                <a:latin typeface="Calibri" panose="020F0502020204030204" pitchFamily="34" charset="0"/>
                <a:ea typeface="Calibri" panose="020F0502020204030204" pitchFamily="34" charset="0"/>
                <a:cs typeface="Times New Roman" panose="02020603050405020304" pitchFamily="18" charset="0"/>
              </a:rPr>
              <a:t>, freezing layers and using dropout layer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endParaRPr lang="en-US"/>
          </a:p>
          <a:p>
            <a:r>
              <a:rPr lang="en-US" sz="1800" kern="100">
                <a:effectLst/>
                <a:latin typeface="Calibri" panose="020F0502020204030204" pitchFamily="34" charset="0"/>
                <a:ea typeface="Calibri" panose="020F0502020204030204" pitchFamily="34" charset="0"/>
                <a:cs typeface="Times New Roman" panose="02020603050405020304" pitchFamily="18" charset="0"/>
              </a:rPr>
              <a:t>Looking for further ways to reduce overfitting, we discovered the </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ResNext</a:t>
            </a:r>
            <a:r>
              <a:rPr lang="en-US" sz="1800" kern="100">
                <a:effectLst/>
                <a:latin typeface="Calibri" panose="020F0502020204030204" pitchFamily="34" charset="0"/>
                <a:ea typeface="Calibri" panose="020F0502020204030204" pitchFamily="34" charset="0"/>
                <a:cs typeface="Times New Roman" panose="02020603050405020304" pitchFamily="18" charset="0"/>
              </a:rPr>
              <a:t> architecture, an advanced version of the </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ResNet</a:t>
            </a:r>
            <a:r>
              <a:rPr lang="en-US" sz="1800" kern="100">
                <a:effectLst/>
                <a:latin typeface="Calibri" panose="020F0502020204030204" pitchFamily="34" charset="0"/>
                <a:ea typeface="Calibri" panose="020F0502020204030204" pitchFamily="34" charset="0"/>
                <a:cs typeface="Times New Roman" panose="02020603050405020304" pitchFamily="18" charset="0"/>
              </a:rPr>
              <a:t> architecture. </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ResNext</a:t>
            </a:r>
            <a:r>
              <a:rPr lang="en-US" sz="1800" kern="100">
                <a:effectLst/>
                <a:latin typeface="Calibri" panose="020F0502020204030204" pitchFamily="34" charset="0"/>
                <a:ea typeface="Calibri" panose="020F0502020204030204" pitchFamily="34" charset="0"/>
                <a:cs typeface="Times New Roman" panose="02020603050405020304" pitchFamily="18" charset="0"/>
              </a:rPr>
              <a:t> uses a split-transform-merge strategy, which introduces parallel paths in a group. This enables the network to </a:t>
            </a:r>
            <a:r>
              <a:rPr lang="en-CH" sz="1800" kern="100">
                <a:effectLst/>
                <a:latin typeface="Calibri" panose="020F0502020204030204" pitchFamily="34" charset="0"/>
                <a:ea typeface="Calibri" panose="020F0502020204030204" pitchFamily="34" charset="0"/>
                <a:cs typeface="Times New Roman" panose="02020603050405020304" pitchFamily="18" charset="0"/>
              </a:rPr>
              <a:t>capture more diverse and fine-grained features</a:t>
            </a:r>
            <a:r>
              <a:rPr lang="en-US" sz="1800" kern="100">
                <a:effectLst/>
                <a:latin typeface="Calibri" panose="020F0502020204030204" pitchFamily="34" charset="0"/>
                <a:ea typeface="Calibri" panose="020F0502020204030204" pitchFamily="34" charset="0"/>
                <a:cs typeface="Times New Roman" panose="02020603050405020304" pitchFamily="18" charset="0"/>
              </a:rPr>
              <a:t> and generally leads to better performance with reduced complexity.</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Calibri" panose="020F0502020204030204" pitchFamily="34" charset="0"/>
                <a:ea typeface="Calibri" panose="020F0502020204030204" pitchFamily="34" charset="0"/>
                <a:cs typeface="Times New Roman" panose="02020603050405020304" pitchFamily="18" charset="0"/>
              </a:rPr>
              <a:t>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Calibri" panose="020F0502020204030204" pitchFamily="34" charset="0"/>
                <a:ea typeface="Calibri" panose="020F0502020204030204" pitchFamily="34" charset="0"/>
                <a:cs typeface="Times New Roman" panose="02020603050405020304" pitchFamily="18" charset="0"/>
              </a:rPr>
              <a:t>Using the </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ResNext</a:t>
            </a:r>
            <a:r>
              <a:rPr lang="en-US" sz="1800" kern="100">
                <a:effectLst/>
                <a:latin typeface="Calibri" panose="020F0502020204030204" pitchFamily="34" charset="0"/>
                <a:ea typeface="Calibri" panose="020F0502020204030204" pitchFamily="34" charset="0"/>
                <a:cs typeface="Times New Roman" panose="02020603050405020304" pitchFamily="18" charset="0"/>
              </a:rPr>
              <a:t> model we were able to push the score from 0.585 to 0.617.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7043EBA6-C39F-4A5F-84D2-2DF92FCB81D8}" type="slidenum">
              <a:rPr lang="en-US" smtClean="0"/>
              <a:t>4</a:t>
            </a:fld>
            <a:endParaRPr lang="en-US"/>
          </a:p>
        </p:txBody>
      </p:sp>
    </p:spTree>
    <p:extLst>
      <p:ext uri="{BB962C8B-B14F-4D97-AF65-F5344CB8AC3E}">
        <p14:creationId xmlns:p14="http://schemas.microsoft.com/office/powerpoint/2010/main" val="3269752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00">
                <a:effectLst/>
                <a:latin typeface="Calibri" panose="020F0502020204030204" pitchFamily="34" charset="0"/>
                <a:ea typeface="Calibri" panose="020F0502020204030204" pitchFamily="34" charset="0"/>
                <a:cs typeface="Times New Roman" panose="02020603050405020304" pitchFamily="18" charset="0"/>
              </a:rPr>
              <a:t>But we didn’t stop there: We were also keen to try out the latest model architecture – namely the Vision Transformer. We used the Vit_b_16 models from </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Pytorch</a:t>
            </a:r>
            <a:r>
              <a:rPr lang="en-US" sz="1800" kern="100">
                <a:effectLst/>
                <a:latin typeface="Calibri" panose="020F0502020204030204" pitchFamily="34" charset="0"/>
                <a:ea typeface="Calibri" panose="020F0502020204030204" pitchFamily="34" charset="0"/>
                <a:cs typeface="Times New Roman" panose="02020603050405020304" pitchFamily="18" charset="0"/>
              </a:rPr>
              <a:t>, which showed one of the best performances on ImageNet from the vision transformers trained with an image size of 224x224pixel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Calibri" panose="020F0502020204030204" pitchFamily="34" charset="0"/>
                <a:ea typeface="Calibri" panose="020F0502020204030204" pitchFamily="34" charset="0"/>
                <a:cs typeface="Times New Roman" panose="02020603050405020304" pitchFamily="18" charset="0"/>
              </a:rPr>
              <a:t>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Calibri" panose="020F0502020204030204" pitchFamily="34" charset="0"/>
                <a:ea typeface="Calibri" panose="020F0502020204030204" pitchFamily="34" charset="0"/>
                <a:cs typeface="Times New Roman" panose="02020603050405020304" pitchFamily="18" charset="0"/>
              </a:rPr>
              <a:t>The data augmentation was similar to the one for </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ResNet</a:t>
            </a:r>
            <a:r>
              <a:rPr lang="en-US" sz="1800" kern="100">
                <a:effectLst/>
                <a:latin typeface="Calibri" panose="020F0502020204030204" pitchFamily="34" charset="0"/>
                <a:ea typeface="Calibri" panose="020F0502020204030204" pitchFamily="34" charset="0"/>
                <a:cs typeface="Times New Roman" panose="02020603050405020304" pitchFamily="18" charset="0"/>
              </a:rPr>
              <a:t> – you may see that we focused more on model exploration and less on exploitation of our existing architecture and optimization of transformations. This resulted in a descent but not great score of 0.62564, but a lot of learnings and a good familiarization with different model architecture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Calibri" panose="020F0502020204030204" pitchFamily="34" charset="0"/>
                <a:ea typeface="Calibri" panose="020F0502020204030204" pitchFamily="34" charset="0"/>
                <a:cs typeface="Times New Roman" panose="02020603050405020304" pitchFamily="18" charset="0"/>
              </a:rPr>
              <a:t>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CH" sz="1800" kern="100">
                <a:effectLst/>
                <a:latin typeface="Calibri" panose="020F0502020204030204" pitchFamily="34" charset="0"/>
                <a:ea typeface="Calibri" panose="020F0502020204030204" pitchFamily="34" charset="0"/>
                <a:cs typeface="Times New Roman" panose="02020603050405020304" pitchFamily="18" charset="0"/>
              </a:rPr>
              <a:t>ResNeXt is able to achieve better accuracy than ResNet-200 [15] but has only 50% complexity.</a:t>
            </a:r>
          </a:p>
          <a:p>
            <a:r>
              <a:rPr lang="en-US" sz="1800" kern="100">
                <a:effectLst/>
                <a:latin typeface="Calibri" panose="020F0502020204030204" pitchFamily="34" charset="0"/>
                <a:ea typeface="Calibri" panose="020F0502020204030204" pitchFamily="34" charset="0"/>
                <a:cs typeface="Times New Roman" panose="02020603050405020304" pitchFamily="18" charset="0"/>
              </a:rPr>
              <a:t>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Calibri" panose="020F0502020204030204" pitchFamily="34" charset="0"/>
                <a:ea typeface="Calibri" panose="020F0502020204030204" pitchFamily="34" charset="0"/>
                <a:cs typeface="Times New Roman" panose="02020603050405020304" pitchFamily="18" charset="0"/>
              </a:rPr>
              <a:t>When analyzing the confusion matrix of the vision transformer, two distinct types of misclassifications were observed. Firstly, there was confusion between river and annual crop or highway, possibly due to the model occasionally interpreting irrigation systems in annual crop fields as rivers. Secondly, various vegetation classes, such as herbaceous vegetation and pasture, were frequently misclassified, indicating the potential benefit of introducing the NDVI index to aid in distinguishing between these vegetation type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7043EBA6-C39F-4A5F-84D2-2DF92FCB81D8}" type="slidenum">
              <a:rPr lang="en-US" smtClean="0"/>
              <a:t>5</a:t>
            </a:fld>
            <a:endParaRPr lang="en-US"/>
          </a:p>
        </p:txBody>
      </p:sp>
    </p:spTree>
    <p:extLst>
      <p:ext uri="{BB962C8B-B14F-4D97-AF65-F5344CB8AC3E}">
        <p14:creationId xmlns:p14="http://schemas.microsoft.com/office/powerpoint/2010/main" val="424275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7043EBA6-C39F-4A5F-84D2-2DF92FCB81D8}" type="slidenum">
              <a:rPr lang="en-US" smtClean="0"/>
              <a:t>6</a:t>
            </a:fld>
            <a:endParaRPr lang="en-US"/>
          </a:p>
        </p:txBody>
      </p:sp>
    </p:spTree>
    <p:extLst>
      <p:ext uri="{BB962C8B-B14F-4D97-AF65-F5344CB8AC3E}">
        <p14:creationId xmlns:p14="http://schemas.microsoft.com/office/powerpoint/2010/main" val="3279230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43EBA6-C39F-4A5F-84D2-2DF92FCB81D8}" type="slidenum">
              <a:rPr lang="en-US" smtClean="0"/>
              <a:t>7</a:t>
            </a:fld>
            <a:endParaRPr lang="en-US"/>
          </a:p>
        </p:txBody>
      </p:sp>
    </p:spTree>
    <p:extLst>
      <p:ext uri="{BB962C8B-B14F-4D97-AF65-F5344CB8AC3E}">
        <p14:creationId xmlns:p14="http://schemas.microsoft.com/office/powerpoint/2010/main" val="15975821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H" sz="1800" kern="100">
                <a:effectLst/>
                <a:latin typeface="Calibri" panose="020F0502020204030204" pitchFamily="34" charset="0"/>
                <a:ea typeface="Calibri" panose="020F0502020204030204" pitchFamily="34" charset="0"/>
                <a:cs typeface="Times New Roman" panose="02020603050405020304" pitchFamily="18" charset="0"/>
              </a:rPr>
              <a:t>Key learnings from this challenge include the importance of addressing overfitting when dealing with a test set in a different domain, the significant impact of small changes in the source domain on the target domain, the need to strike a balance between exploring new approaches and leveraging existing solutions, the challenges associated with domain adaptation, and the crucial role of a well-built model pipeline for speed and reproducibility.</a:t>
            </a:r>
          </a:p>
          <a:p>
            <a:endParaRPr lang="en-US"/>
          </a:p>
        </p:txBody>
      </p:sp>
      <p:sp>
        <p:nvSpPr>
          <p:cNvPr id="4" name="Slide Number Placeholder 3"/>
          <p:cNvSpPr>
            <a:spLocks noGrp="1"/>
          </p:cNvSpPr>
          <p:nvPr>
            <p:ph type="sldNum" sz="quarter" idx="5"/>
          </p:nvPr>
        </p:nvSpPr>
        <p:spPr/>
        <p:txBody>
          <a:bodyPr/>
          <a:lstStyle/>
          <a:p>
            <a:fld id="{7043EBA6-C39F-4A5F-84D2-2DF92FCB81D8}" type="slidenum">
              <a:rPr lang="en-US" smtClean="0"/>
              <a:t>8</a:t>
            </a:fld>
            <a:endParaRPr lang="en-US"/>
          </a:p>
        </p:txBody>
      </p:sp>
    </p:spTree>
    <p:extLst>
      <p:ext uri="{BB962C8B-B14F-4D97-AF65-F5344CB8AC3E}">
        <p14:creationId xmlns:p14="http://schemas.microsoft.com/office/powerpoint/2010/main" val="2329838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00">
                <a:effectLst/>
                <a:latin typeface="Arial" panose="020B0604020202020204" pitchFamily="34" charset="0"/>
                <a:ea typeface="Calibri" panose="020F0502020204030204" pitchFamily="34" charset="0"/>
                <a:cs typeface="Times New Roman" panose="02020603050405020304" pitchFamily="18" charset="0"/>
              </a:rPr>
              <a:t>Although the challenge has ended, we have several ideas to enhance our existing model:</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Arial" panose="020B0604020202020204" pitchFamily="34" charset="0"/>
                <a:ea typeface="Calibri" panose="020F0502020204030204" pitchFamily="34" charset="0"/>
                <a:cs typeface="Times New Roman" panose="02020603050405020304" pitchFamily="18" charset="0"/>
              </a:rPr>
              <a:t>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Arial" panose="020B0604020202020204" pitchFamily="34" charset="0"/>
                <a:ea typeface="Calibri" panose="020F0502020204030204" pitchFamily="34" charset="0"/>
                <a:cs typeface="Times New Roman" panose="02020603050405020304" pitchFamily="18" charset="0"/>
              </a:rPr>
              <a:t>    Incorporating the NDVI index into model training to improve performance on vegetation classe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Arial" panose="020B0604020202020204" pitchFamily="34" charset="0"/>
                <a:ea typeface="Calibri" panose="020F0502020204030204" pitchFamily="34" charset="0"/>
                <a:cs typeface="Times New Roman" panose="02020603050405020304" pitchFamily="18" charset="0"/>
              </a:rPr>
              <a:t>    Expanding our domain adaptation efforts.</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Arial" panose="020B0604020202020204" pitchFamily="34" charset="0"/>
                <a:ea typeface="Calibri" panose="020F0502020204030204" pitchFamily="34" charset="0"/>
                <a:cs typeface="Times New Roman" panose="02020603050405020304" pitchFamily="18" charset="0"/>
              </a:rPr>
              <a:t>    Conducting systematic hyperparameter tuning, possibly through grid search.</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Arial" panose="020B0604020202020204" pitchFamily="34" charset="0"/>
                <a:ea typeface="Calibri" panose="020F0502020204030204" pitchFamily="34" charset="0"/>
                <a:cs typeface="Times New Roman" panose="02020603050405020304" pitchFamily="18" charset="0"/>
              </a:rPr>
              <a:t>    Implementing cross-validation to mitigate overfitting.</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Arial" panose="020B0604020202020204" pitchFamily="34" charset="0"/>
                <a:ea typeface="Calibri" panose="020F0502020204030204" pitchFamily="34" charset="0"/>
                <a:cs typeface="Times New Roman" panose="02020603050405020304" pitchFamily="18" charset="0"/>
              </a:rPr>
              <a:t>    Exploring ensemble learning by combining models such as </a:t>
            </a:r>
            <a:r>
              <a:rPr lang="en-US" sz="1800" kern="100" err="1">
                <a:effectLst/>
                <a:latin typeface="Arial" panose="020B0604020202020204" pitchFamily="34" charset="0"/>
                <a:ea typeface="Calibri" panose="020F0502020204030204" pitchFamily="34" charset="0"/>
                <a:cs typeface="Times New Roman" panose="02020603050405020304" pitchFamily="18" charset="0"/>
              </a:rPr>
              <a:t>resnext</a:t>
            </a:r>
            <a:r>
              <a:rPr lang="en-US" sz="1800" kern="100">
                <a:effectLst/>
                <a:latin typeface="Arial" panose="020B0604020202020204" pitchFamily="34" charset="0"/>
                <a:ea typeface="Calibri" panose="020F0502020204030204" pitchFamily="34" charset="0"/>
                <a:cs typeface="Times New Roman" panose="02020603050405020304" pitchFamily="18" charset="0"/>
              </a:rPr>
              <a:t> and vision transformer.</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Arial" panose="020B0604020202020204" pitchFamily="34" charset="0"/>
                <a:ea typeface="Calibri" panose="020F0502020204030204" pitchFamily="34" charset="0"/>
                <a:cs typeface="Times New Roman" panose="02020603050405020304" pitchFamily="18" charset="0"/>
              </a:rPr>
              <a:t>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a:effectLst/>
                <a:latin typeface="Arial" panose="020B0604020202020204" pitchFamily="34" charset="0"/>
                <a:ea typeface="Calibri" panose="020F0502020204030204" pitchFamily="34" charset="0"/>
                <a:cs typeface="Times New Roman" panose="02020603050405020304" pitchFamily="18" charset="0"/>
              </a:rPr>
              <a:t>These ideas reflect our enthusiasm for further experimentation and improvement. It has been an enjoyable and fascinating experience working with different models and exploring domain adaptation with GANs. </a:t>
            </a:r>
            <a:endParaRPr lang="en-CH" sz="18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7043EBA6-C39F-4A5F-84D2-2DF92FCB81D8}" type="slidenum">
              <a:rPr lang="en-US" smtClean="0"/>
              <a:t>9</a:t>
            </a:fld>
            <a:endParaRPr lang="en-US"/>
          </a:p>
        </p:txBody>
      </p:sp>
    </p:spTree>
    <p:extLst>
      <p:ext uri="{BB962C8B-B14F-4D97-AF65-F5344CB8AC3E}">
        <p14:creationId xmlns:p14="http://schemas.microsoft.com/office/powerpoint/2010/main" val="2507817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SG - AIML Borth - Title ">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8C896147-1E78-5A4E-82AE-B36E46E3BAB0}"/>
              </a:ext>
            </a:extLst>
          </p:cNvPr>
          <p:cNvPicPr>
            <a:picLocks/>
          </p:cNvPicPr>
          <p:nvPr userDrawn="1"/>
        </p:nvPicPr>
        <p:blipFill rotWithShape="1">
          <a:blip r:embed="rId2"/>
          <a:srcRect t="22438" b="24198"/>
          <a:stretch/>
        </p:blipFill>
        <p:spPr>
          <a:xfrm>
            <a:off x="-18000" y="1260000"/>
            <a:ext cx="12240000" cy="3671868"/>
          </a:xfrm>
          <a:prstGeom prst="rect">
            <a:avLst/>
          </a:prstGeom>
          <a:effectLst>
            <a:innerShdw blurRad="63500" dist="50800" dir="16200000">
              <a:prstClr val="black">
                <a:alpha val="50000"/>
              </a:prstClr>
            </a:innerShdw>
          </a:effectLst>
        </p:spPr>
      </p:pic>
      <p:cxnSp>
        <p:nvCxnSpPr>
          <p:cNvPr id="16" name="Straight Connector 15">
            <a:extLst>
              <a:ext uri="{FF2B5EF4-FFF2-40B4-BE49-F238E27FC236}">
                <a16:creationId xmlns:a16="http://schemas.microsoft.com/office/drawing/2014/main" id="{05DA23F6-B05F-3244-8172-DB18B36FE921}"/>
              </a:ext>
            </a:extLst>
          </p:cNvPr>
          <p:cNvCxnSpPr>
            <a:cxnSpLocks/>
          </p:cNvCxnSpPr>
          <p:nvPr userDrawn="1"/>
        </p:nvCxnSpPr>
        <p:spPr>
          <a:xfrm>
            <a:off x="0" y="4921254"/>
            <a:ext cx="12193587"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229C4E4-63DB-544E-A182-4338C3485AF3}"/>
              </a:ext>
            </a:extLst>
          </p:cNvPr>
          <p:cNvSpPr txBox="1"/>
          <p:nvPr userDrawn="1"/>
        </p:nvSpPr>
        <p:spPr>
          <a:xfrm>
            <a:off x="3358662" y="-1186962"/>
            <a:ext cx="0" cy="0"/>
          </a:xfrm>
          <a:prstGeom prst="rect">
            <a:avLst/>
          </a:prstGeom>
          <a:noFill/>
          <a:ln w="12700">
            <a:noFill/>
            <a:miter lim="800000"/>
            <a:headEnd/>
            <a:tailEnd/>
          </a:ln>
          <a:effectLst/>
        </p:spPr>
        <p:txBody>
          <a:bodyPr vert="horz" wrap="none" lIns="0" tIns="0" rIns="0" bIns="0" numCol="1" rtlCol="0" anchor="t" anchorCtr="0" compatLnSpc="1">
            <a:prstTxWarp prst="textNoShape">
              <a:avLst/>
            </a:prstTxWarp>
            <a:noAutofit/>
          </a:bodyPr>
          <a:lstStyle/>
          <a:p>
            <a:pPr algn="l"/>
            <a:endParaRPr lang="en-US"/>
          </a:p>
        </p:txBody>
      </p:sp>
      <p:sp>
        <p:nvSpPr>
          <p:cNvPr id="15" name="Untertitel 2">
            <a:extLst>
              <a:ext uri="{FF2B5EF4-FFF2-40B4-BE49-F238E27FC236}">
                <a16:creationId xmlns:a16="http://schemas.microsoft.com/office/drawing/2014/main" id="{675B1E6B-4BEF-2948-9183-31F1A15D8774}"/>
              </a:ext>
            </a:extLst>
          </p:cNvPr>
          <p:cNvSpPr>
            <a:spLocks noGrp="1"/>
          </p:cNvSpPr>
          <p:nvPr>
            <p:ph type="subTitle" idx="1" hasCustomPrompt="1"/>
          </p:nvPr>
        </p:nvSpPr>
        <p:spPr>
          <a:xfrm>
            <a:off x="446200" y="5220000"/>
            <a:ext cx="11225788" cy="270000"/>
          </a:xfrm>
          <a:prstGeom prst="rect">
            <a:avLst/>
          </a:prstGeom>
          <a:noFill/>
          <a:ln w="12700">
            <a:noFill/>
            <a:miter lim="800000"/>
            <a:headEnd/>
            <a:tailEnd/>
          </a:ln>
          <a:effectLst/>
        </p:spPr>
        <p:txBody>
          <a:bodyPr vert="horz" wrap="square" lIns="0" tIns="0" rIns="0" bIns="0" numCol="1" anchor="t" anchorCtr="0" compatLnSpc="1">
            <a:prstTxWarp prst="textNoShape">
              <a:avLst/>
            </a:prstTxWarp>
            <a:noAutofit/>
          </a:bodyPr>
          <a:lstStyle>
            <a:lvl1pPr marL="0" indent="0" algn="l" defTabSz="571500" rtl="0" eaLnBrk="1" fontAlgn="base" hangingPunct="1">
              <a:spcBef>
                <a:spcPct val="0"/>
              </a:spcBef>
              <a:spcAft>
                <a:spcPct val="0"/>
              </a:spcAft>
              <a:buSzPct val="100000"/>
              <a:buNone/>
              <a:defRPr lang="de-CH" altLang="de-DE" sz="1600" dirty="0">
                <a:solidFill>
                  <a:schemeClr val="tx1"/>
                </a:solidFill>
                <a:effectLst/>
                <a:latin typeface="Titillium Web" pitchFamily="2" charset="77"/>
                <a:ea typeface="+mn-ea"/>
                <a:cs typeface="+mn-cs"/>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err="1"/>
              <a:t>Formatvorlage</a:t>
            </a:r>
            <a:r>
              <a:rPr lang="en-US" noProof="0"/>
              <a:t> des </a:t>
            </a:r>
            <a:r>
              <a:rPr lang="en-US" noProof="0" err="1"/>
              <a:t>Untertitelmasters</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17" name="Title 24">
            <a:extLst>
              <a:ext uri="{FF2B5EF4-FFF2-40B4-BE49-F238E27FC236}">
                <a16:creationId xmlns:a16="http://schemas.microsoft.com/office/drawing/2014/main" id="{13204D46-DCBA-C84B-99C9-607BCB003C2E}"/>
              </a:ext>
            </a:extLst>
          </p:cNvPr>
          <p:cNvSpPr>
            <a:spLocks noGrp="1"/>
          </p:cNvSpPr>
          <p:nvPr>
            <p:ph type="title"/>
          </p:nvPr>
        </p:nvSpPr>
        <p:spPr>
          <a:xfrm>
            <a:off x="446200" y="5490000"/>
            <a:ext cx="11225788" cy="540000"/>
          </a:xfrm>
          <a:prstGeom prst="rect">
            <a:avLst/>
          </a:prstGeom>
        </p:spPr>
        <p:txBody>
          <a:bodyPr lIns="0" tIns="0" rIns="0" bIns="0" anchor="ctr"/>
          <a:lstStyle>
            <a:lvl1pPr algn="l">
              <a:defRPr sz="3200">
                <a:solidFill>
                  <a:schemeClr val="tx1">
                    <a:lumMod val="85000"/>
                    <a:lumOff val="15000"/>
                  </a:schemeClr>
                </a:solidFill>
                <a:effectLst/>
                <a:latin typeface="Titillium Web" pitchFamily="2" charset="77"/>
              </a:defRPr>
            </a:lvl1pPr>
          </a:lstStyle>
          <a:p>
            <a:r>
              <a:rPr lang="en-GB" noProof="0"/>
              <a:t>Click to edit Master title style</a:t>
            </a:r>
          </a:p>
        </p:txBody>
      </p:sp>
      <p:sp>
        <p:nvSpPr>
          <p:cNvPr id="18" name="Text Placeholder 28">
            <a:extLst>
              <a:ext uri="{FF2B5EF4-FFF2-40B4-BE49-F238E27FC236}">
                <a16:creationId xmlns:a16="http://schemas.microsoft.com/office/drawing/2014/main" id="{A44F9B97-447E-DF4A-98E3-CEC26664E9A3}"/>
              </a:ext>
            </a:extLst>
          </p:cNvPr>
          <p:cNvSpPr>
            <a:spLocks noGrp="1"/>
          </p:cNvSpPr>
          <p:nvPr>
            <p:ph type="body" sz="quarter" idx="12" hasCustomPrompt="1"/>
          </p:nvPr>
        </p:nvSpPr>
        <p:spPr>
          <a:xfrm>
            <a:off x="504000" y="6120000"/>
            <a:ext cx="8856000" cy="360000"/>
          </a:xfrm>
          <a:prstGeom prst="rect">
            <a:avLst/>
          </a:prstGeom>
        </p:spPr>
        <p:txBody>
          <a:bodyPr lIns="0" tIns="0" rIns="0" bIns="0" anchor="ctr"/>
          <a:lstStyle>
            <a:lvl1pPr marL="0" indent="0">
              <a:buFont typeface="Arial" panose="020B0604020202020204" pitchFamily="34" charset="0"/>
              <a:buNone/>
              <a:defRPr sz="1600">
                <a:effectLst/>
                <a:latin typeface="Titillium Web" pitchFamily="2" charset="77"/>
              </a:defRPr>
            </a:lvl1pPr>
            <a:lvl2pPr marL="342900" indent="0">
              <a:buNone/>
              <a:defRPr/>
            </a:lvl2pPr>
            <a:lvl3pPr marL="685800" indent="0">
              <a:buNone/>
              <a:defRPr/>
            </a:lvl3pPr>
            <a:lvl4pPr marL="1028700" indent="0">
              <a:buNone/>
              <a:defRPr/>
            </a:lvl4pPr>
            <a:lvl5pPr marL="1371600" indent="0">
              <a:buNone/>
              <a:defRPr/>
            </a:lvl5pPr>
          </a:lstStyle>
          <a:p>
            <a:pPr lvl="0"/>
            <a:r>
              <a:rPr lang="en-US" noProof="0"/>
              <a:t>Authors</a:t>
            </a:r>
          </a:p>
        </p:txBody>
      </p:sp>
      <p:grpSp>
        <p:nvGrpSpPr>
          <p:cNvPr id="19" name="Group 18">
            <a:extLst>
              <a:ext uri="{FF2B5EF4-FFF2-40B4-BE49-F238E27FC236}">
                <a16:creationId xmlns:a16="http://schemas.microsoft.com/office/drawing/2014/main" id="{693867CF-DDD5-7A4B-958E-7C3435455FA3}"/>
              </a:ext>
            </a:extLst>
          </p:cNvPr>
          <p:cNvGrpSpPr/>
          <p:nvPr userDrawn="1"/>
        </p:nvGrpSpPr>
        <p:grpSpPr>
          <a:xfrm>
            <a:off x="408162" y="188640"/>
            <a:ext cx="3600400" cy="864096"/>
            <a:chOff x="408162" y="188640"/>
            <a:chExt cx="3600400" cy="864096"/>
          </a:xfrm>
        </p:grpSpPr>
        <p:sp>
          <p:nvSpPr>
            <p:cNvPr id="20" name="Rectangle 19">
              <a:extLst>
                <a:ext uri="{FF2B5EF4-FFF2-40B4-BE49-F238E27FC236}">
                  <a16:creationId xmlns:a16="http://schemas.microsoft.com/office/drawing/2014/main" id="{D7E1B46B-D41E-AC47-AD39-630BFC36EB7A}"/>
                </a:ext>
              </a:extLst>
            </p:cNvPr>
            <p:cNvSpPr/>
            <p:nvPr userDrawn="1"/>
          </p:nvSpPr>
          <p:spPr>
            <a:xfrm>
              <a:off x="408162" y="188640"/>
              <a:ext cx="3600400" cy="86409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9" descr="Shape&#10;&#10;Description automatically generated with medium confidence">
              <a:extLst>
                <a:ext uri="{FF2B5EF4-FFF2-40B4-BE49-F238E27FC236}">
                  <a16:creationId xmlns:a16="http://schemas.microsoft.com/office/drawing/2014/main" id="{8783FB8B-8F8C-7543-85D8-1B5B23E431C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4000" y="252000"/>
              <a:ext cx="3355207"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TextBox 2">
            <a:extLst>
              <a:ext uri="{FF2B5EF4-FFF2-40B4-BE49-F238E27FC236}">
                <a16:creationId xmlns:a16="http://schemas.microsoft.com/office/drawing/2014/main" id="{80848E33-8B1A-CF48-B1A6-1439ADBBE1B3}"/>
              </a:ext>
            </a:extLst>
          </p:cNvPr>
          <p:cNvSpPr txBox="1"/>
          <p:nvPr userDrawn="1"/>
        </p:nvSpPr>
        <p:spPr>
          <a:xfrm>
            <a:off x="6390861" y="6768548"/>
            <a:ext cx="0" cy="0"/>
          </a:xfrm>
          <a:prstGeom prst="rect">
            <a:avLst/>
          </a:prstGeom>
          <a:noFill/>
          <a:ln w="12700">
            <a:noFill/>
            <a:miter lim="800000"/>
            <a:headEnd/>
            <a:tailEnd/>
          </a:ln>
          <a:effectLst/>
        </p:spPr>
        <p:txBody>
          <a:bodyPr vert="horz" wrap="none" lIns="0" tIns="0" rIns="0" bIns="0" numCol="1" rtlCol="0" anchor="t" anchorCtr="0" compatLnSpc="1">
            <a:prstTxWarp prst="textNoShape">
              <a:avLst/>
            </a:prstTxWarp>
            <a:noAutofit/>
          </a:bodyPr>
          <a:lstStyle/>
          <a:p>
            <a:pPr algn="l"/>
            <a:endParaRPr lang="en-US"/>
          </a:p>
        </p:txBody>
      </p:sp>
      <p:sp>
        <p:nvSpPr>
          <p:cNvPr id="22" name="Foliennummernplatzhalter 5">
            <a:extLst>
              <a:ext uri="{FF2B5EF4-FFF2-40B4-BE49-F238E27FC236}">
                <a16:creationId xmlns:a16="http://schemas.microsoft.com/office/drawing/2014/main" id="{FF2DC949-A408-CC4A-A643-CD86640EB8AF}"/>
              </a:ext>
            </a:extLst>
          </p:cNvPr>
          <p:cNvSpPr>
            <a:spLocks noGrp="1"/>
          </p:cNvSpPr>
          <p:nvPr>
            <p:ph type="sldNum" sz="quarter" idx="4"/>
          </p:nvPr>
        </p:nvSpPr>
        <p:spPr>
          <a:xfrm>
            <a:off x="10980000" y="6655411"/>
            <a:ext cx="691988" cy="223112"/>
          </a:xfrm>
          <a:prstGeom prst="rect">
            <a:avLst/>
          </a:prstGeom>
        </p:spPr>
        <p:txBody>
          <a:bodyPr vert="horz" lIns="91440" tIns="45720" rIns="91440" bIns="45720" rtlCol="0" anchor="ctr"/>
          <a:lstStyle>
            <a:lvl1pPr algn="r">
              <a:defRPr sz="1000">
                <a:solidFill>
                  <a:schemeClr val="bg1"/>
                </a:solidFill>
                <a:latin typeface="Titillium Web" pitchFamily="2" charset="77"/>
              </a:defRPr>
            </a:lvl1pPr>
          </a:lstStyle>
          <a:p>
            <a:fld id="{1FF5481D-800C-4F34-B3D6-C18BC0A4FD2D}" type="slidenum">
              <a:rPr lang="de-CH" smtClean="0"/>
              <a:pPr/>
              <a:t>‹#›</a:t>
            </a:fld>
            <a:endParaRPr lang="de-CH"/>
          </a:p>
        </p:txBody>
      </p:sp>
      <p:sp>
        <p:nvSpPr>
          <p:cNvPr id="23" name="Footer Placeholder 4">
            <a:extLst>
              <a:ext uri="{FF2B5EF4-FFF2-40B4-BE49-F238E27FC236}">
                <a16:creationId xmlns:a16="http://schemas.microsoft.com/office/drawing/2014/main" id="{D19842E2-8B6D-2747-8856-7F3610B951BB}"/>
              </a:ext>
            </a:extLst>
          </p:cNvPr>
          <p:cNvSpPr>
            <a:spLocks noGrp="1"/>
          </p:cNvSpPr>
          <p:nvPr>
            <p:ph type="ftr" sz="quarter" idx="3"/>
          </p:nvPr>
        </p:nvSpPr>
        <p:spPr>
          <a:xfrm>
            <a:off x="450000" y="6660000"/>
            <a:ext cx="5445670" cy="197197"/>
          </a:xfrm>
          <a:prstGeom prst="rect">
            <a:avLst/>
          </a:prstGeom>
        </p:spPr>
        <p:txBody>
          <a:bodyPr/>
          <a:lstStyle>
            <a:lvl1pPr algn="l">
              <a:defRPr sz="1000">
                <a:solidFill>
                  <a:schemeClr val="bg1"/>
                </a:solidFill>
                <a:latin typeface="Titillium Web" pitchFamily="2" charset="77"/>
              </a:defRPr>
            </a:lvl1pPr>
          </a:lstStyle>
          <a:p>
            <a:r>
              <a:rPr lang="en-US" noProof="0"/>
              <a:t>Prof. Damian Borth - Artificial Intelligence &amp; Machine Learning [AIML]</a:t>
            </a:r>
          </a:p>
        </p:txBody>
      </p:sp>
    </p:spTree>
    <p:extLst>
      <p:ext uri="{BB962C8B-B14F-4D97-AF65-F5344CB8AC3E}">
        <p14:creationId xmlns:p14="http://schemas.microsoft.com/office/powerpoint/2010/main" val="24182179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SG - AIML Borth - Slide Top-Title">
    <p:spTree>
      <p:nvGrpSpPr>
        <p:cNvPr id="1" name=""/>
        <p:cNvGrpSpPr/>
        <p:nvPr/>
      </p:nvGrpSpPr>
      <p:grpSpPr>
        <a:xfrm>
          <a:off x="0" y="0"/>
          <a:ext cx="0" cy="0"/>
          <a:chOff x="0" y="0"/>
          <a:chExt cx="0" cy="0"/>
        </a:xfrm>
      </p:grpSpPr>
      <p:sp>
        <p:nvSpPr>
          <p:cNvPr id="8" name="Rechteck 7"/>
          <p:cNvSpPr/>
          <p:nvPr userDrawn="1"/>
        </p:nvSpPr>
        <p:spPr>
          <a:xfrm>
            <a:off x="0" y="6669360"/>
            <a:ext cx="12193588" cy="144016"/>
          </a:xfrm>
          <a:prstGeom prst="rect">
            <a:avLst/>
          </a:prstGeom>
          <a:solidFill>
            <a:srgbClr val="00802F"/>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ctr"/>
            <a:endParaRPr lang="de-DE" sz="1350">
              <a:solidFill>
                <a:srgbClr val="339933"/>
              </a:solidFill>
            </a:endParaRPr>
          </a:p>
        </p:txBody>
      </p:sp>
      <p:sp>
        <p:nvSpPr>
          <p:cNvPr id="7" name="Titel 1">
            <a:extLst>
              <a:ext uri="{FF2B5EF4-FFF2-40B4-BE49-F238E27FC236}">
                <a16:creationId xmlns:a16="http://schemas.microsoft.com/office/drawing/2014/main" id="{C5A65098-7269-8147-A39E-F496852A7A66}"/>
              </a:ext>
            </a:extLst>
          </p:cNvPr>
          <p:cNvSpPr>
            <a:spLocks noGrp="1"/>
          </p:cNvSpPr>
          <p:nvPr>
            <p:ph type="title"/>
          </p:nvPr>
        </p:nvSpPr>
        <p:spPr>
          <a:xfrm>
            <a:off x="3240000" y="288000"/>
            <a:ext cx="8431988" cy="540000"/>
          </a:xfrm>
          <a:prstGeom prst="rect">
            <a:avLst/>
          </a:prstGeom>
        </p:spPr>
        <p:txBody>
          <a:bodyPr lIns="0" tIns="0" rIns="0" bIns="0">
            <a:noAutofit/>
          </a:bodyPr>
          <a:lstStyle>
            <a:lvl1pPr algn="r">
              <a:defRPr sz="3200" b="1">
                <a:solidFill>
                  <a:schemeClr val="tx1"/>
                </a:solidFill>
                <a:effectLst/>
                <a:latin typeface="Titillium Web" pitchFamily="2" charset="77"/>
              </a:defRPr>
            </a:lvl1pPr>
          </a:lstStyle>
          <a:p>
            <a:r>
              <a:rPr lang="en-US" noProof="0"/>
              <a:t>Click to edit Master title style</a:t>
            </a:r>
          </a:p>
        </p:txBody>
      </p:sp>
      <p:sp>
        <p:nvSpPr>
          <p:cNvPr id="9" name="Inhaltsplatzhalter 2">
            <a:extLst>
              <a:ext uri="{FF2B5EF4-FFF2-40B4-BE49-F238E27FC236}">
                <a16:creationId xmlns:a16="http://schemas.microsoft.com/office/drawing/2014/main" id="{B72F4952-B697-CF47-90CD-D8CDC623BE97}"/>
              </a:ext>
            </a:extLst>
          </p:cNvPr>
          <p:cNvSpPr>
            <a:spLocks noGrp="1"/>
          </p:cNvSpPr>
          <p:nvPr>
            <p:ph idx="1" hasCustomPrompt="1"/>
          </p:nvPr>
        </p:nvSpPr>
        <p:spPr>
          <a:xfrm>
            <a:off x="696194" y="1412776"/>
            <a:ext cx="10975794" cy="4950000"/>
          </a:xfrm>
          <a:prstGeom prst="rect">
            <a:avLst/>
          </a:prstGeom>
        </p:spPr>
        <p:txBody>
          <a:bodyPr lIns="0" tIns="0" rIns="0" bIns="0">
            <a:noAutofit/>
          </a:bodyPr>
          <a:lstStyle>
            <a:lvl1pPr marL="342900" indent="-342900">
              <a:buFont typeface="Arial" panose="020B0604020202020204" pitchFamily="34" charset="0"/>
              <a:buChar char="•"/>
              <a:defRPr sz="2800">
                <a:effectLst/>
                <a:latin typeface="Titillium Web" pitchFamily="2" charset="77"/>
              </a:defRPr>
            </a:lvl1pPr>
            <a:lvl2pPr>
              <a:defRPr sz="2400">
                <a:effectLst/>
                <a:latin typeface="Titillium Web" pitchFamily="2" charset="77"/>
              </a:defRPr>
            </a:lvl2pPr>
            <a:lvl3pPr>
              <a:defRPr sz="2000">
                <a:effectLst/>
                <a:latin typeface="Titillium Web" pitchFamily="2" charset="77"/>
              </a:defRPr>
            </a:lvl3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0"/>
            <a:endParaRPr lang="en-US" noProof="0"/>
          </a:p>
        </p:txBody>
      </p:sp>
      <p:sp>
        <p:nvSpPr>
          <p:cNvPr id="10" name="Foliennummernplatzhalter 5">
            <a:extLst>
              <a:ext uri="{FF2B5EF4-FFF2-40B4-BE49-F238E27FC236}">
                <a16:creationId xmlns:a16="http://schemas.microsoft.com/office/drawing/2014/main" id="{6B717A2A-F36B-C84D-A79C-8C8C2C8E0906}"/>
              </a:ext>
            </a:extLst>
          </p:cNvPr>
          <p:cNvSpPr>
            <a:spLocks noGrp="1"/>
          </p:cNvSpPr>
          <p:nvPr>
            <p:ph type="sldNum" sz="quarter" idx="4"/>
          </p:nvPr>
        </p:nvSpPr>
        <p:spPr>
          <a:xfrm>
            <a:off x="10980000" y="6655411"/>
            <a:ext cx="691988" cy="223112"/>
          </a:xfrm>
          <a:prstGeom prst="rect">
            <a:avLst/>
          </a:prstGeom>
        </p:spPr>
        <p:txBody>
          <a:bodyPr vert="horz" lIns="91440" tIns="45720" rIns="91440" bIns="45720" rtlCol="0" anchor="ctr"/>
          <a:lstStyle>
            <a:lvl1pPr algn="r">
              <a:defRPr sz="1000">
                <a:solidFill>
                  <a:schemeClr val="bg1"/>
                </a:solidFill>
                <a:latin typeface="Titillium Web" pitchFamily="2" charset="77"/>
              </a:defRPr>
            </a:lvl1pPr>
          </a:lstStyle>
          <a:p>
            <a:fld id="{1FF5481D-800C-4F34-B3D6-C18BC0A4FD2D}" type="slidenum">
              <a:rPr lang="de-CH" smtClean="0"/>
              <a:pPr/>
              <a:t>‹#›</a:t>
            </a:fld>
            <a:endParaRPr lang="de-CH"/>
          </a:p>
        </p:txBody>
      </p:sp>
      <p:sp>
        <p:nvSpPr>
          <p:cNvPr id="11" name="Footer Placeholder 4">
            <a:extLst>
              <a:ext uri="{FF2B5EF4-FFF2-40B4-BE49-F238E27FC236}">
                <a16:creationId xmlns:a16="http://schemas.microsoft.com/office/drawing/2014/main" id="{9AEF7AB1-307F-5949-AE5D-96D9CC1E8D49}"/>
              </a:ext>
            </a:extLst>
          </p:cNvPr>
          <p:cNvSpPr>
            <a:spLocks noGrp="1"/>
          </p:cNvSpPr>
          <p:nvPr>
            <p:ph type="ftr" sz="quarter" idx="3"/>
          </p:nvPr>
        </p:nvSpPr>
        <p:spPr>
          <a:xfrm>
            <a:off x="450000" y="6660000"/>
            <a:ext cx="5445670" cy="197197"/>
          </a:xfrm>
          <a:prstGeom prst="rect">
            <a:avLst/>
          </a:prstGeom>
        </p:spPr>
        <p:txBody>
          <a:bodyPr/>
          <a:lstStyle>
            <a:lvl1pPr algn="l">
              <a:defRPr sz="1000">
                <a:solidFill>
                  <a:schemeClr val="bg1"/>
                </a:solidFill>
                <a:latin typeface="Titillium Web" pitchFamily="2" charset="77"/>
              </a:defRPr>
            </a:lvl1pPr>
          </a:lstStyle>
          <a:p>
            <a:r>
              <a:rPr lang="en-US" noProof="0"/>
              <a:t>Prof. Damian Borth - Artificial Intelligence &amp; Machine Learning [AIML]</a:t>
            </a:r>
          </a:p>
        </p:txBody>
      </p:sp>
    </p:spTree>
    <p:extLst>
      <p:ext uri="{BB962C8B-B14F-4D97-AF65-F5344CB8AC3E}">
        <p14:creationId xmlns:p14="http://schemas.microsoft.com/office/powerpoint/2010/main" val="252511406"/>
      </p:ext>
    </p:extLst>
  </p:cSld>
  <p:clrMapOvr>
    <a:masterClrMapping/>
  </p:clrMapOvr>
  <p:extLst>
    <p:ext uri="{DCECCB84-F9BA-43D5-87BE-67443E8EF086}">
      <p15:sldGuideLst xmlns:p15="http://schemas.microsoft.com/office/powerpoint/2012/main">
        <p15:guide id="1" orient="horz" pos="890" userDrawn="1">
          <p15:clr>
            <a:srgbClr val="FBAE40"/>
          </p15:clr>
        </p15:guide>
        <p15:guide id="2" orient="horz" pos="4020" userDrawn="1">
          <p15:clr>
            <a:srgbClr val="FBAE40"/>
          </p15:clr>
        </p15:guide>
        <p15:guide id="3" pos="439" userDrawn="1">
          <p15:clr>
            <a:srgbClr val="FBAE40"/>
          </p15:clr>
        </p15:guide>
        <p15:guide id="4" pos="724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SG - AIML Borth - Slide Lower-Title">
    <p:spTree>
      <p:nvGrpSpPr>
        <p:cNvPr id="1" name=""/>
        <p:cNvGrpSpPr/>
        <p:nvPr/>
      </p:nvGrpSpPr>
      <p:grpSpPr>
        <a:xfrm>
          <a:off x="0" y="0"/>
          <a:ext cx="0" cy="0"/>
          <a:chOff x="0" y="0"/>
          <a:chExt cx="0" cy="0"/>
        </a:xfrm>
      </p:grpSpPr>
      <p:sp>
        <p:nvSpPr>
          <p:cNvPr id="8" name="Rechteck 7"/>
          <p:cNvSpPr/>
          <p:nvPr userDrawn="1"/>
        </p:nvSpPr>
        <p:spPr>
          <a:xfrm>
            <a:off x="0" y="6685200"/>
            <a:ext cx="12193588" cy="172800"/>
          </a:xfrm>
          <a:prstGeom prst="rect">
            <a:avLst/>
          </a:prstGeom>
          <a:solidFill>
            <a:srgbClr val="00802F"/>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ctr"/>
            <a:endParaRPr lang="de-DE" sz="1350">
              <a:solidFill>
                <a:srgbClr val="339933"/>
              </a:solidFill>
            </a:endParaRPr>
          </a:p>
        </p:txBody>
      </p:sp>
      <p:sp>
        <p:nvSpPr>
          <p:cNvPr id="7" name="Inhaltsplatzhalter 2">
            <a:extLst>
              <a:ext uri="{FF2B5EF4-FFF2-40B4-BE49-F238E27FC236}">
                <a16:creationId xmlns:a16="http://schemas.microsoft.com/office/drawing/2014/main" id="{B3A92FFA-CDCE-694E-B927-0DFB2E8F0443}"/>
              </a:ext>
            </a:extLst>
          </p:cNvPr>
          <p:cNvSpPr>
            <a:spLocks noGrp="1"/>
          </p:cNvSpPr>
          <p:nvPr>
            <p:ph idx="1" hasCustomPrompt="1"/>
          </p:nvPr>
        </p:nvSpPr>
        <p:spPr>
          <a:xfrm>
            <a:off x="696194" y="1789516"/>
            <a:ext cx="10975794" cy="4590000"/>
          </a:xfrm>
          <a:prstGeom prst="rect">
            <a:avLst/>
          </a:prstGeom>
        </p:spPr>
        <p:txBody>
          <a:bodyPr lIns="0" tIns="0" rIns="0" bIns="0">
            <a:noAutofit/>
          </a:bodyPr>
          <a:lstStyle>
            <a:lvl1pPr marL="342900" indent="-342900">
              <a:buFont typeface="Arial" panose="020B0604020202020204" pitchFamily="34" charset="0"/>
              <a:buChar char="•"/>
              <a:defRPr sz="2800">
                <a:effectLst/>
                <a:latin typeface="Titillium Web" pitchFamily="2" charset="77"/>
              </a:defRPr>
            </a:lvl1pPr>
            <a:lvl2pPr>
              <a:defRPr sz="2400">
                <a:effectLst/>
                <a:latin typeface="Titillium Web" pitchFamily="2" charset="77"/>
              </a:defRPr>
            </a:lvl2pPr>
            <a:lvl3pPr>
              <a:defRPr sz="2000">
                <a:effectLst/>
                <a:latin typeface="Titillium Web" pitchFamily="2" charset="77"/>
              </a:defRPr>
            </a:lvl3p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0"/>
            <a:endParaRPr lang="en-US" noProof="0"/>
          </a:p>
        </p:txBody>
      </p:sp>
      <p:sp>
        <p:nvSpPr>
          <p:cNvPr id="9" name="Titel 1">
            <a:extLst>
              <a:ext uri="{FF2B5EF4-FFF2-40B4-BE49-F238E27FC236}">
                <a16:creationId xmlns:a16="http://schemas.microsoft.com/office/drawing/2014/main" id="{0215D4F2-AB7F-1244-8447-228FA3DC9BEB}"/>
              </a:ext>
            </a:extLst>
          </p:cNvPr>
          <p:cNvSpPr>
            <a:spLocks noGrp="1"/>
          </p:cNvSpPr>
          <p:nvPr>
            <p:ph type="title"/>
          </p:nvPr>
        </p:nvSpPr>
        <p:spPr>
          <a:xfrm>
            <a:off x="696194" y="1080000"/>
            <a:ext cx="10975794" cy="370800"/>
          </a:xfrm>
          <a:prstGeom prst="rect">
            <a:avLst/>
          </a:prstGeom>
        </p:spPr>
        <p:txBody>
          <a:bodyPr lIns="0" tIns="0" rIns="0" bIns="0">
            <a:noAutofit/>
          </a:bodyPr>
          <a:lstStyle>
            <a:lvl1pPr algn="l">
              <a:defRPr sz="3200" b="1">
                <a:solidFill>
                  <a:schemeClr val="tx1"/>
                </a:solidFill>
                <a:latin typeface="Titillium Web" pitchFamily="2" charset="77"/>
              </a:defRPr>
            </a:lvl1pPr>
          </a:lstStyle>
          <a:p>
            <a:r>
              <a:rPr lang="en-US" noProof="0"/>
              <a:t>Click to edit Master title style</a:t>
            </a:r>
          </a:p>
        </p:txBody>
      </p:sp>
      <p:sp>
        <p:nvSpPr>
          <p:cNvPr id="10" name="Foliennummernplatzhalter 5">
            <a:extLst>
              <a:ext uri="{FF2B5EF4-FFF2-40B4-BE49-F238E27FC236}">
                <a16:creationId xmlns:a16="http://schemas.microsoft.com/office/drawing/2014/main" id="{CBCF410E-DBEF-554E-A22F-9D2DC0489F52}"/>
              </a:ext>
            </a:extLst>
          </p:cNvPr>
          <p:cNvSpPr>
            <a:spLocks noGrp="1"/>
          </p:cNvSpPr>
          <p:nvPr>
            <p:ph type="sldNum" sz="quarter" idx="4"/>
          </p:nvPr>
        </p:nvSpPr>
        <p:spPr>
          <a:xfrm>
            <a:off x="10980000" y="6655411"/>
            <a:ext cx="691988" cy="223112"/>
          </a:xfrm>
          <a:prstGeom prst="rect">
            <a:avLst/>
          </a:prstGeom>
        </p:spPr>
        <p:txBody>
          <a:bodyPr vert="horz" lIns="91440" tIns="45720" rIns="91440" bIns="45720" rtlCol="0" anchor="ctr"/>
          <a:lstStyle>
            <a:lvl1pPr algn="r">
              <a:defRPr sz="1000">
                <a:solidFill>
                  <a:schemeClr val="bg1"/>
                </a:solidFill>
                <a:latin typeface="Titillium Web" pitchFamily="2" charset="77"/>
              </a:defRPr>
            </a:lvl1pPr>
          </a:lstStyle>
          <a:p>
            <a:fld id="{1FF5481D-800C-4F34-B3D6-C18BC0A4FD2D}" type="slidenum">
              <a:rPr lang="de-CH" smtClean="0"/>
              <a:pPr/>
              <a:t>‹#›</a:t>
            </a:fld>
            <a:endParaRPr lang="de-CH"/>
          </a:p>
        </p:txBody>
      </p:sp>
      <p:sp>
        <p:nvSpPr>
          <p:cNvPr id="13" name="Footer Placeholder 4">
            <a:extLst>
              <a:ext uri="{FF2B5EF4-FFF2-40B4-BE49-F238E27FC236}">
                <a16:creationId xmlns:a16="http://schemas.microsoft.com/office/drawing/2014/main" id="{94AC4796-4DAF-DE4E-BF70-B25AB145EA6E}"/>
              </a:ext>
            </a:extLst>
          </p:cNvPr>
          <p:cNvSpPr>
            <a:spLocks noGrp="1"/>
          </p:cNvSpPr>
          <p:nvPr>
            <p:ph type="ftr" sz="quarter" idx="3"/>
          </p:nvPr>
        </p:nvSpPr>
        <p:spPr>
          <a:xfrm>
            <a:off x="450000" y="6660000"/>
            <a:ext cx="5445670" cy="197197"/>
          </a:xfrm>
          <a:prstGeom prst="rect">
            <a:avLst/>
          </a:prstGeom>
        </p:spPr>
        <p:txBody>
          <a:bodyPr/>
          <a:lstStyle>
            <a:lvl1pPr algn="l">
              <a:defRPr sz="1000">
                <a:solidFill>
                  <a:schemeClr val="bg1"/>
                </a:solidFill>
                <a:latin typeface="Titillium Web" pitchFamily="2" charset="77"/>
              </a:defRPr>
            </a:lvl1pPr>
          </a:lstStyle>
          <a:p>
            <a:r>
              <a:rPr lang="en-US" noProof="0"/>
              <a:t>Prof. Damian Borth - Artificial Intelligence &amp; Machine Learning [AIML]</a:t>
            </a:r>
          </a:p>
        </p:txBody>
      </p:sp>
    </p:spTree>
    <p:extLst>
      <p:ext uri="{BB962C8B-B14F-4D97-AF65-F5344CB8AC3E}">
        <p14:creationId xmlns:p14="http://schemas.microsoft.com/office/powerpoint/2010/main" val="3495106844"/>
      </p:ext>
    </p:extLst>
  </p:cSld>
  <p:clrMapOvr>
    <a:masterClrMapping/>
  </p:clrMapOvr>
  <p:extLst>
    <p:ext uri="{DCECCB84-F9BA-43D5-87BE-67443E8EF086}">
      <p15:sldGuideLst xmlns:p15="http://schemas.microsoft.com/office/powerpoint/2012/main">
        <p15:guide id="1" pos="439" userDrawn="1">
          <p15:clr>
            <a:srgbClr val="FBAE40"/>
          </p15:clr>
        </p15:guide>
        <p15:guide id="2" pos="7242" userDrawn="1">
          <p15:clr>
            <a:srgbClr val="FBAE40"/>
          </p15:clr>
        </p15:guide>
        <p15:guide id="3" orient="horz" pos="1117" userDrawn="1">
          <p15:clr>
            <a:srgbClr val="547EBF"/>
          </p15:clr>
        </p15:guide>
        <p15:guide id="4" orient="horz" pos="4020" userDrawn="1">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SG - AIML Borth - Seperato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A90A9D-5E71-AE48-BB26-E437F906A882}"/>
              </a:ext>
            </a:extLst>
          </p:cNvPr>
          <p:cNvSpPr/>
          <p:nvPr userDrawn="1"/>
        </p:nvSpPr>
        <p:spPr>
          <a:xfrm>
            <a:off x="-23886" y="979802"/>
            <a:ext cx="12313368" cy="5898721"/>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Shape 3">
            <a:extLst>
              <a:ext uri="{FF2B5EF4-FFF2-40B4-BE49-F238E27FC236}">
                <a16:creationId xmlns:a16="http://schemas.microsoft.com/office/drawing/2014/main" id="{50F909DB-1786-F041-B238-DC6D410AB8A9}"/>
              </a:ext>
            </a:extLst>
          </p:cNvPr>
          <p:cNvSpPr>
            <a:spLocks noChangeAspect="1"/>
          </p:cNvSpPr>
          <p:nvPr userDrawn="1"/>
        </p:nvSpPr>
        <p:spPr>
          <a:xfrm>
            <a:off x="6768752" y="4581128"/>
            <a:ext cx="5520730" cy="6049598"/>
          </a:xfrm>
          <a:custGeom>
            <a:avLst/>
            <a:gdLst>
              <a:gd name="connsiteX0" fmla="*/ 0 w 3106057"/>
              <a:gd name="connsiteY0" fmla="*/ 711200 h 3403600"/>
              <a:gd name="connsiteX1" fmla="*/ 3106057 w 3106057"/>
              <a:gd name="connsiteY1" fmla="*/ 0 h 3403600"/>
              <a:gd name="connsiteX2" fmla="*/ 3106057 w 3106057"/>
              <a:gd name="connsiteY2" fmla="*/ 3403600 h 3403600"/>
              <a:gd name="connsiteX3" fmla="*/ 449943 w 3106057"/>
              <a:gd name="connsiteY3" fmla="*/ 3222171 h 3403600"/>
              <a:gd name="connsiteX4" fmla="*/ 0 w 3106057"/>
              <a:gd name="connsiteY4" fmla="*/ 711200 h 340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6057" h="3403600">
                <a:moveTo>
                  <a:pt x="0" y="711200"/>
                </a:moveTo>
                <a:lnTo>
                  <a:pt x="3106057" y="0"/>
                </a:lnTo>
                <a:lnTo>
                  <a:pt x="3106057" y="3403600"/>
                </a:lnTo>
                <a:lnTo>
                  <a:pt x="449943" y="3222171"/>
                </a:lnTo>
                <a:lnTo>
                  <a:pt x="0" y="711200"/>
                </a:lnTo>
                <a:close/>
              </a:path>
            </a:pathLst>
          </a:custGeom>
          <a:solidFill>
            <a:srgbClr val="00802F"/>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de-CH" sz="1350" b="0" i="0" u="none" strike="noStrike" kern="0" cap="none" spc="0" normalizeH="0" baseline="0" noProof="0">
              <a:ln>
                <a:noFill/>
              </a:ln>
              <a:solidFill>
                <a:prstClr val="white"/>
              </a:solidFill>
              <a:effectLst/>
              <a:uLnTx/>
              <a:uFillTx/>
              <a:latin typeface="Gill Sans Nova"/>
              <a:ea typeface="+mn-ea"/>
              <a:cs typeface="+mn-cs"/>
            </a:endParaRPr>
          </a:p>
        </p:txBody>
      </p:sp>
      <p:sp>
        <p:nvSpPr>
          <p:cNvPr id="3" name="Slide Number Placeholder 2">
            <a:extLst>
              <a:ext uri="{FF2B5EF4-FFF2-40B4-BE49-F238E27FC236}">
                <a16:creationId xmlns:a16="http://schemas.microsoft.com/office/drawing/2014/main" id="{70CE2ED5-BA0A-B145-B37B-FF868F358612}"/>
              </a:ext>
            </a:extLst>
          </p:cNvPr>
          <p:cNvSpPr>
            <a:spLocks noGrp="1"/>
          </p:cNvSpPr>
          <p:nvPr>
            <p:ph type="sldNum" sz="quarter" idx="10"/>
          </p:nvPr>
        </p:nvSpPr>
        <p:spPr/>
        <p:txBody>
          <a:bodyPr/>
          <a:lstStyle/>
          <a:p>
            <a:fld id="{1FF5481D-800C-4F34-B3D6-C18BC0A4FD2D}" type="slidenum">
              <a:rPr lang="de-CH" smtClean="0"/>
              <a:pPr/>
              <a:t>‹#›</a:t>
            </a:fld>
            <a:endParaRPr lang="de-CH"/>
          </a:p>
        </p:txBody>
      </p:sp>
      <p:sp>
        <p:nvSpPr>
          <p:cNvPr id="4" name="Footer Placeholder 3">
            <a:extLst>
              <a:ext uri="{FF2B5EF4-FFF2-40B4-BE49-F238E27FC236}">
                <a16:creationId xmlns:a16="http://schemas.microsoft.com/office/drawing/2014/main" id="{7B7B6294-1F78-764D-9071-FE8A563EF8E6}"/>
              </a:ext>
            </a:extLst>
          </p:cNvPr>
          <p:cNvSpPr>
            <a:spLocks noGrp="1"/>
          </p:cNvSpPr>
          <p:nvPr>
            <p:ph type="ftr" sz="quarter" idx="11"/>
          </p:nvPr>
        </p:nvSpPr>
        <p:spPr/>
        <p:txBody>
          <a:bodyPr/>
          <a:lstStyle/>
          <a:p>
            <a:r>
              <a:rPr lang="en-US" noProof="0"/>
              <a:t>Prof. Damian Borth - Artificial Intelligence &amp; Machine Learning [AIML]</a:t>
            </a:r>
          </a:p>
        </p:txBody>
      </p:sp>
      <p:sp>
        <p:nvSpPr>
          <p:cNvPr id="7" name="Title 1">
            <a:extLst>
              <a:ext uri="{FF2B5EF4-FFF2-40B4-BE49-F238E27FC236}">
                <a16:creationId xmlns:a16="http://schemas.microsoft.com/office/drawing/2014/main" id="{73BF1B8C-811D-674A-815F-FC76B2F56135}"/>
              </a:ext>
            </a:extLst>
          </p:cNvPr>
          <p:cNvSpPr>
            <a:spLocks noGrp="1"/>
          </p:cNvSpPr>
          <p:nvPr>
            <p:ph type="title"/>
          </p:nvPr>
        </p:nvSpPr>
        <p:spPr>
          <a:xfrm>
            <a:off x="999126" y="2492896"/>
            <a:ext cx="9793088" cy="2496171"/>
          </a:xfrm>
          <a:prstGeom prst="rect">
            <a:avLst/>
          </a:prstGeom>
        </p:spPr>
        <p:txBody>
          <a:bodyPr anchor="b">
            <a:normAutofit/>
          </a:bodyPr>
          <a:lstStyle>
            <a:lvl1pPr marL="0" indent="0" algn="l">
              <a:lnSpc>
                <a:spcPts val="5200"/>
              </a:lnSpc>
              <a:buFont typeface="+mj-lt"/>
              <a:buNone/>
              <a:defRPr sz="5000">
                <a:solidFill>
                  <a:schemeClr val="bg1"/>
                </a:solidFill>
                <a:latin typeface="Titillium Web" pitchFamily="2" charset="77"/>
              </a:defRPr>
            </a:lvl1pPr>
          </a:lstStyle>
          <a:p>
            <a:r>
              <a:rPr lang="de-CH"/>
              <a:t>Click </a:t>
            </a:r>
            <a:r>
              <a:rPr lang="de-CH" err="1"/>
              <a:t>to</a:t>
            </a:r>
            <a:r>
              <a:rPr lang="de-CH"/>
              <a:t> </a:t>
            </a:r>
            <a:r>
              <a:rPr lang="de-CH" err="1"/>
              <a:t>edit</a:t>
            </a:r>
            <a:r>
              <a:rPr lang="de-CH"/>
              <a:t> Master title style</a:t>
            </a:r>
          </a:p>
        </p:txBody>
      </p:sp>
    </p:spTree>
    <p:extLst>
      <p:ext uri="{BB962C8B-B14F-4D97-AF65-F5344CB8AC3E}">
        <p14:creationId xmlns:p14="http://schemas.microsoft.com/office/powerpoint/2010/main" val="30100926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274DB3E-E544-40AE-9D99-E3EFA760DB30}"/>
              </a:ext>
            </a:extLst>
          </p:cNvPr>
          <p:cNvGraphicFramePr>
            <a:graphicFrameLocks noChangeAspect="1"/>
          </p:cNvGraphicFramePr>
          <p:nvPr userDrawn="1">
            <p:custDataLst>
              <p:tags r:id="rId7"/>
            </p:custDataLst>
            <p:extLst>
              <p:ext uri="{D42A27DB-BD31-4B8C-83A1-F6EECF244321}">
                <p14:modId xmlns:p14="http://schemas.microsoft.com/office/powerpoint/2010/main" val="3263579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8" imgW="592" imgH="591" progId="TCLayout.ActiveDocument.1">
                  <p:embed/>
                </p:oleObj>
              </mc:Choice>
              <mc:Fallback>
                <p:oleObj name="think-cell Slide" r:id="rId8" imgW="592" imgH="591" progId="TCLayout.ActiveDocument.1">
                  <p:embed/>
                  <p:pic>
                    <p:nvPicPr>
                      <p:cNvPr id="2" name="think-cell data - do not delete" hidden="1">
                        <a:extLst>
                          <a:ext uri="{FF2B5EF4-FFF2-40B4-BE49-F238E27FC236}">
                            <a16:creationId xmlns:a16="http://schemas.microsoft.com/office/drawing/2014/main" id="{A274DB3E-E544-40AE-9D99-E3EFA760DB3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3" name="Rechteck 7">
            <a:extLst>
              <a:ext uri="{FF2B5EF4-FFF2-40B4-BE49-F238E27FC236}">
                <a16:creationId xmlns:a16="http://schemas.microsoft.com/office/drawing/2014/main" id="{4CF15793-93D6-DA4D-92E2-0584E01F40CB}"/>
              </a:ext>
            </a:extLst>
          </p:cNvPr>
          <p:cNvSpPr/>
          <p:nvPr userDrawn="1"/>
        </p:nvSpPr>
        <p:spPr>
          <a:xfrm>
            <a:off x="0" y="6681600"/>
            <a:ext cx="12193588" cy="176400"/>
          </a:xfrm>
          <a:prstGeom prst="rect">
            <a:avLst/>
          </a:prstGeom>
          <a:solidFill>
            <a:srgbClr val="00802F"/>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ctr"/>
            <a:endParaRPr lang="de-DE" sz="1350">
              <a:solidFill>
                <a:srgbClr val="339933"/>
              </a:solidFill>
            </a:endParaRPr>
          </a:p>
        </p:txBody>
      </p:sp>
      <p:pic>
        <p:nvPicPr>
          <p:cNvPr id="7" name="Picture 9" descr="Shape&#10;&#10;Description automatically generated with medium confidence">
            <a:extLst>
              <a:ext uri="{FF2B5EF4-FFF2-40B4-BE49-F238E27FC236}">
                <a16:creationId xmlns:a16="http://schemas.microsoft.com/office/drawing/2014/main" id="{67A27530-10B4-654B-8FD0-F194672E10B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80170" y="252000"/>
            <a:ext cx="2064508" cy="44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liennummernplatzhalter 5">
            <a:extLst>
              <a:ext uri="{FF2B5EF4-FFF2-40B4-BE49-F238E27FC236}">
                <a16:creationId xmlns:a16="http://schemas.microsoft.com/office/drawing/2014/main" id="{2A190AA2-FDE6-1F47-B5C0-FEB50342EF62}"/>
              </a:ext>
            </a:extLst>
          </p:cNvPr>
          <p:cNvSpPr>
            <a:spLocks noGrp="1"/>
          </p:cNvSpPr>
          <p:nvPr>
            <p:ph type="sldNum" sz="quarter" idx="4"/>
          </p:nvPr>
        </p:nvSpPr>
        <p:spPr>
          <a:xfrm>
            <a:off x="10980000" y="6655411"/>
            <a:ext cx="691988" cy="223112"/>
          </a:xfrm>
          <a:prstGeom prst="rect">
            <a:avLst/>
          </a:prstGeom>
        </p:spPr>
        <p:txBody>
          <a:bodyPr vert="horz" lIns="91440" tIns="45720" rIns="91440" bIns="45720" rtlCol="0" anchor="ctr"/>
          <a:lstStyle>
            <a:lvl1pPr algn="r">
              <a:defRPr sz="1000">
                <a:solidFill>
                  <a:schemeClr val="bg1"/>
                </a:solidFill>
                <a:latin typeface="Titillium Web" pitchFamily="2" charset="77"/>
              </a:defRPr>
            </a:lvl1pPr>
          </a:lstStyle>
          <a:p>
            <a:fld id="{1FF5481D-800C-4F34-B3D6-C18BC0A4FD2D}" type="slidenum">
              <a:rPr lang="de-CH" smtClean="0"/>
              <a:pPr/>
              <a:t>‹#›</a:t>
            </a:fld>
            <a:endParaRPr lang="de-CH"/>
          </a:p>
        </p:txBody>
      </p:sp>
      <p:sp>
        <p:nvSpPr>
          <p:cNvPr id="11" name="Footer Placeholder 4">
            <a:extLst>
              <a:ext uri="{FF2B5EF4-FFF2-40B4-BE49-F238E27FC236}">
                <a16:creationId xmlns:a16="http://schemas.microsoft.com/office/drawing/2014/main" id="{3F1960BE-84D8-5A40-940D-B62560D3315B}"/>
              </a:ext>
            </a:extLst>
          </p:cNvPr>
          <p:cNvSpPr>
            <a:spLocks noGrp="1"/>
          </p:cNvSpPr>
          <p:nvPr>
            <p:ph type="ftr" sz="quarter" idx="3"/>
          </p:nvPr>
        </p:nvSpPr>
        <p:spPr>
          <a:xfrm>
            <a:off x="450000" y="6671202"/>
            <a:ext cx="5445670" cy="197197"/>
          </a:xfrm>
          <a:prstGeom prst="rect">
            <a:avLst/>
          </a:prstGeom>
        </p:spPr>
        <p:txBody>
          <a:bodyPr anchor="ctr"/>
          <a:lstStyle>
            <a:lvl1pPr algn="l">
              <a:defRPr sz="1000">
                <a:solidFill>
                  <a:schemeClr val="bg1"/>
                </a:solidFill>
                <a:latin typeface="Titillium Web" pitchFamily="2" charset="77"/>
              </a:defRPr>
            </a:lvl1pPr>
          </a:lstStyle>
          <a:p>
            <a:r>
              <a:rPr lang="en-US" noProof="0"/>
              <a:t>Prof. Damian </a:t>
            </a:r>
            <a:r>
              <a:rPr lang="en-US" noProof="0" err="1"/>
              <a:t>Borth</a:t>
            </a:r>
            <a:r>
              <a:rPr lang="en-US" noProof="0"/>
              <a:t> - Artificial Intelligence &amp; Machine Learning [AIML]</a:t>
            </a:r>
          </a:p>
        </p:txBody>
      </p:sp>
    </p:spTree>
    <p:extLst>
      <p:ext uri="{BB962C8B-B14F-4D97-AF65-F5344CB8AC3E}">
        <p14:creationId xmlns:p14="http://schemas.microsoft.com/office/powerpoint/2010/main" val="243352592"/>
      </p:ext>
    </p:extLst>
  </p:cSld>
  <p:clrMap bg1="lt1" tx1="dk1" bg2="lt2" tx2="dk2" accent1="accent1" accent2="accent2" accent3="accent3" accent4="accent4" accent5="accent5" accent6="accent6" hlink="hlink" folHlink="folHlink"/>
  <p:sldLayoutIdLst>
    <p:sldLayoutId id="2147483738" r:id="rId1"/>
    <p:sldLayoutId id="2147483741" r:id="rId2"/>
    <p:sldLayoutId id="2147483740" r:id="rId3"/>
    <p:sldLayoutId id="2147483751" r:id="rId4"/>
  </p:sldLayoutIdLst>
  <p:hf hdr="0" dt="0"/>
  <p:txStyles>
    <p:titleStyle>
      <a:lvl1pPr algn="r" defTabSz="685800" rtl="0" eaLnBrk="1" latinLnBrk="0" hangingPunct="1">
        <a:spcBef>
          <a:spcPct val="0"/>
        </a:spcBef>
        <a:buNone/>
        <a:defRPr sz="3200" kern="1200">
          <a:solidFill>
            <a:schemeClr val="tx1">
              <a:lumMod val="85000"/>
              <a:lumOff val="15000"/>
            </a:schemeClr>
          </a:solidFill>
          <a:latin typeface="Titillium Web" pitchFamily="2" charset="77"/>
          <a:ea typeface="+mj-ea"/>
          <a:cs typeface="+mj-cs"/>
        </a:defRPr>
      </a:lvl1pPr>
    </p:titleStyle>
    <p:bodyStyle>
      <a:lvl1pPr marL="342900" marR="0" indent="-342900" algn="l" defTabSz="685800" rtl="0" eaLnBrk="1" fontAlgn="auto" latinLnBrk="0" hangingPunct="1">
        <a:lnSpc>
          <a:spcPct val="100000"/>
        </a:lnSpc>
        <a:spcBef>
          <a:spcPct val="20000"/>
        </a:spcBef>
        <a:spcAft>
          <a:spcPts val="0"/>
        </a:spcAft>
        <a:buClrTx/>
        <a:buSzTx/>
        <a:buFont typeface="+mj-lt"/>
        <a:buAutoNum type="arabicPeriod"/>
        <a:tabLst/>
        <a:defRPr sz="2800" b="0" kern="1200" cap="none" spc="0">
          <a:ln w="0"/>
          <a:solidFill>
            <a:schemeClr val="tx1"/>
          </a:solidFill>
          <a:effectLst>
            <a:outerShdw blurRad="38100" dist="19050" dir="2700000" algn="tl" rotWithShape="0">
              <a:schemeClr val="dk1">
                <a:alpha val="40000"/>
              </a:schemeClr>
            </a:outerShdw>
          </a:effectLst>
          <a:latin typeface="Titillium Web" pitchFamily="2" charset="77"/>
          <a:ea typeface="+mn-ea"/>
          <a:cs typeface="+mn-cs"/>
        </a:defRPr>
      </a:lvl1pPr>
      <a:lvl2pPr marL="557213" marR="0" indent="-214313" algn="l" defTabSz="685800" rtl="0" eaLnBrk="1" fontAlgn="auto" latinLnBrk="0" hangingPunct="1">
        <a:lnSpc>
          <a:spcPct val="100000"/>
        </a:lnSpc>
        <a:spcBef>
          <a:spcPct val="20000"/>
        </a:spcBef>
        <a:spcAft>
          <a:spcPts val="0"/>
        </a:spcAft>
        <a:buClrTx/>
        <a:buSzTx/>
        <a:buFont typeface="Arial" pitchFamily="34" charset="0"/>
        <a:buChar char="–"/>
        <a:tabLst/>
        <a:defRPr sz="1500" kern="1200">
          <a:solidFill>
            <a:schemeClr val="tx1"/>
          </a:solidFill>
          <a:latin typeface="Titillium Web" pitchFamily="2" charset="77"/>
          <a:ea typeface="+mn-ea"/>
          <a:cs typeface="+mn-cs"/>
        </a:defRPr>
      </a:lvl2pPr>
      <a:lvl3pPr marL="857250" marR="0" indent="-171450" algn="l" defTabSz="685800" rtl="0" eaLnBrk="1" fontAlgn="auto" latinLnBrk="0" hangingPunct="1">
        <a:lnSpc>
          <a:spcPct val="100000"/>
        </a:lnSpc>
        <a:spcBef>
          <a:spcPct val="20000"/>
        </a:spcBef>
        <a:spcAft>
          <a:spcPts val="0"/>
        </a:spcAft>
        <a:buClrTx/>
        <a:buSzTx/>
        <a:buFont typeface="Arial" pitchFamily="34" charset="0"/>
        <a:buChar char="•"/>
        <a:tabLst/>
        <a:defRPr sz="1350" kern="1200">
          <a:solidFill>
            <a:schemeClr val="tx1"/>
          </a:solidFill>
          <a:latin typeface="Titillium Web" pitchFamily="2" charset="77"/>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s://doi.org/10.1109/cvpr.2017.634" TargetMode="External"/><Relationship Id="rId2" Type="http://schemas.openxmlformats.org/officeDocument/2006/relationships/hyperlink" Target="https://doi.org/10.3390/rs12122035"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notesSlide" Target="../notesSlides/notesSlide3.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chart" Target="../charts/chart1.xml"/><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9"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oleObject" Target="../embeddings/oleObject4.bin"/><Relationship Id="rId45" Type="http://schemas.openxmlformats.org/officeDocument/2006/relationships/chart" Target="../charts/chart4.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chart" Target="../charts/chart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chart" Target="../charts/chart2.xml"/><Relationship Id="rId8" Type="http://schemas.openxmlformats.org/officeDocument/2006/relationships/tags" Target="../tags/tag11.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slideLayout" Target="../slideLayouts/slideLayout2.xml"/><Relationship Id="rId46" Type="http://schemas.openxmlformats.org/officeDocument/2006/relationships/chart" Target="../charts/chart5.xml"/><Relationship Id="rId20" Type="http://schemas.openxmlformats.org/officeDocument/2006/relationships/tags" Target="../tags/tag23.xml"/><Relationship Id="rId41"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4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jpeg"/><Relationship Id="rId2" Type="http://schemas.openxmlformats.org/officeDocument/2006/relationships/tags" Target="../tags/tag4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4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45.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14.png"/><Relationship Id="rId5" Type="http://schemas.openxmlformats.org/officeDocument/2006/relationships/oleObject" Target="../embeddings/oleObject9.bin"/><Relationship Id="rId10" Type="http://schemas.openxmlformats.org/officeDocument/2006/relationships/image" Target="../media/image13.png"/><Relationship Id="rId4" Type="http://schemas.openxmlformats.org/officeDocument/2006/relationships/notesSlide" Target="../notesSlides/notesSlide8.xml"/><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19.png"/><Relationship Id="rId5" Type="http://schemas.openxmlformats.org/officeDocument/2006/relationships/oleObject" Target="../embeddings/oleObject10.bin"/><Relationship Id="rId10" Type="http://schemas.openxmlformats.org/officeDocument/2006/relationships/image" Target="../media/image18.png"/><Relationship Id="rId4" Type="http://schemas.openxmlformats.org/officeDocument/2006/relationships/notesSlide" Target="../notesSlides/notesSlide9.xml"/><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3F3935F-D2E9-45CE-A083-37F484DA5B5C}"/>
              </a:ext>
            </a:extLst>
          </p:cNvPr>
          <p:cNvGraphicFramePr>
            <a:graphicFrameLocks noChangeAspect="1"/>
          </p:cNvGraphicFramePr>
          <p:nvPr>
            <p:custDataLst>
              <p:tags r:id="rId2"/>
            </p:custDataLst>
            <p:extLst>
              <p:ext uri="{D42A27DB-BD31-4B8C-83A1-F6EECF244321}">
                <p14:modId xmlns:p14="http://schemas.microsoft.com/office/powerpoint/2010/main" val="420249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592" imgH="591" progId="TCLayout.ActiveDocument.1">
                  <p:embed/>
                </p:oleObj>
              </mc:Choice>
              <mc:Fallback>
                <p:oleObj name="think-cell Slide" r:id="rId5" imgW="592" imgH="591" progId="TCLayout.ActiveDocument.1">
                  <p:embed/>
                  <p:pic>
                    <p:nvPicPr>
                      <p:cNvPr id="5" name="think-cell data - do not delete" hidden="1">
                        <a:extLst>
                          <a:ext uri="{FF2B5EF4-FFF2-40B4-BE49-F238E27FC236}">
                            <a16:creationId xmlns:a16="http://schemas.microsoft.com/office/drawing/2014/main" id="{C3F3935F-D2E9-45CE-A083-37F484DA5B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773999B-DA52-4D48-8A49-4303CB033EE9}"/>
              </a:ext>
            </a:extLst>
          </p:cNvPr>
          <p:cNvSpPr>
            <a:spLocks noGrp="1"/>
          </p:cNvSpPr>
          <p:nvPr>
            <p:ph type="body" sz="quarter" idx="12"/>
          </p:nvPr>
        </p:nvSpPr>
        <p:spPr>
          <a:xfrm>
            <a:off x="446200" y="6120000"/>
            <a:ext cx="11225788" cy="360000"/>
          </a:xfrm>
          <a:prstGeom prst="rect">
            <a:avLst/>
          </a:prstGeom>
        </p:spPr>
        <p:txBody>
          <a:bodyPr/>
          <a:lstStyle/>
          <a:p>
            <a:r>
              <a:rPr lang="en-AU"/>
              <a:t>Florence </a:t>
            </a:r>
            <a:r>
              <a:rPr lang="en-AU" err="1"/>
              <a:t>Pfammatter</a:t>
            </a:r>
            <a:r>
              <a:rPr lang="en-AU"/>
              <a:t>, Kaan Aydin</a:t>
            </a:r>
          </a:p>
        </p:txBody>
      </p:sp>
      <p:sp>
        <p:nvSpPr>
          <p:cNvPr id="9" name="Slide Number Placeholder 8">
            <a:extLst>
              <a:ext uri="{FF2B5EF4-FFF2-40B4-BE49-F238E27FC236}">
                <a16:creationId xmlns:a16="http://schemas.microsoft.com/office/drawing/2014/main" id="{C36851C2-568D-BF44-862A-7CF4FC7A2A96}"/>
              </a:ext>
            </a:extLst>
          </p:cNvPr>
          <p:cNvSpPr>
            <a:spLocks noGrp="1"/>
          </p:cNvSpPr>
          <p:nvPr>
            <p:ph type="sldNum" sz="quarter" idx="4"/>
          </p:nvPr>
        </p:nvSpPr>
        <p:spPr/>
        <p:txBody>
          <a:bodyPr/>
          <a:lstStyle/>
          <a:p>
            <a:fld id="{1FF5481D-800C-4F34-B3D6-C18BC0A4FD2D}" type="slidenum">
              <a:rPr lang="de-CH" smtClean="0"/>
              <a:pPr/>
              <a:t>1</a:t>
            </a:fld>
            <a:endParaRPr lang="de-CH"/>
          </a:p>
        </p:txBody>
      </p:sp>
      <p:sp>
        <p:nvSpPr>
          <p:cNvPr id="3" name="Footer Placeholder 2">
            <a:extLst>
              <a:ext uri="{FF2B5EF4-FFF2-40B4-BE49-F238E27FC236}">
                <a16:creationId xmlns:a16="http://schemas.microsoft.com/office/drawing/2014/main" id="{0C0E794D-3987-524D-AAE5-FE32B5F60B1C}"/>
              </a:ext>
            </a:extLst>
          </p:cNvPr>
          <p:cNvSpPr>
            <a:spLocks noGrp="1"/>
          </p:cNvSpPr>
          <p:nvPr>
            <p:ph type="ftr" sz="quarter" idx="3"/>
          </p:nvPr>
        </p:nvSpPr>
        <p:spPr/>
        <p:txBody>
          <a:bodyPr/>
          <a:lstStyle/>
          <a:p>
            <a:r>
              <a:rPr lang="en-US" noProof="0"/>
              <a:t>Prof. Damian Borth - Artificial Intelligence &amp; Machine Learning [AIML]</a:t>
            </a:r>
          </a:p>
        </p:txBody>
      </p:sp>
      <p:sp>
        <p:nvSpPr>
          <p:cNvPr id="8" name="Subtitle 7">
            <a:extLst>
              <a:ext uri="{FF2B5EF4-FFF2-40B4-BE49-F238E27FC236}">
                <a16:creationId xmlns:a16="http://schemas.microsoft.com/office/drawing/2014/main" id="{8D02A74F-D605-AA4C-8F99-315CE9D005C1}"/>
              </a:ext>
            </a:extLst>
          </p:cNvPr>
          <p:cNvSpPr>
            <a:spLocks noGrp="1"/>
          </p:cNvSpPr>
          <p:nvPr>
            <p:ph type="subTitle" idx="1"/>
          </p:nvPr>
        </p:nvSpPr>
        <p:spPr>
          <a:prstGeom prst="rect">
            <a:avLst/>
          </a:prstGeom>
        </p:spPr>
        <p:txBody>
          <a:bodyPr/>
          <a:lstStyle/>
          <a:p>
            <a:r>
              <a:rPr lang="en-AU" altLang="de-DE">
                <a:effectLst/>
              </a:rPr>
              <a:t>ML Mavericks</a:t>
            </a:r>
            <a:endParaRPr lang="en-AU">
              <a:effectLst/>
            </a:endParaRPr>
          </a:p>
        </p:txBody>
      </p:sp>
      <p:sp>
        <p:nvSpPr>
          <p:cNvPr id="10" name="Title 9">
            <a:extLst>
              <a:ext uri="{FF2B5EF4-FFF2-40B4-BE49-F238E27FC236}">
                <a16:creationId xmlns:a16="http://schemas.microsoft.com/office/drawing/2014/main" id="{1CD420CF-8FCD-2847-B017-E4FABBADC9DD}"/>
              </a:ext>
            </a:extLst>
          </p:cNvPr>
          <p:cNvSpPr>
            <a:spLocks noGrp="1"/>
          </p:cNvSpPr>
          <p:nvPr>
            <p:ph type="title"/>
          </p:nvPr>
        </p:nvSpPr>
        <p:spPr>
          <a:xfrm>
            <a:off x="446200" y="5490000"/>
            <a:ext cx="11225788" cy="540000"/>
          </a:xfrm>
          <a:prstGeom prst="rect">
            <a:avLst/>
          </a:prstGeom>
        </p:spPr>
        <p:txBody>
          <a:bodyPr vert="horz"/>
          <a:lstStyle/>
          <a:p>
            <a:r>
              <a:rPr lang="en-US" b="1">
                <a:latin typeface="Titillium WebSemiBold" pitchFamily="2" charset="77"/>
              </a:rPr>
              <a:t>Machine Learning - Coding Challenge - Spring 2023</a:t>
            </a:r>
            <a:endParaRPr lang="en-AU" sz="2000"/>
          </a:p>
        </p:txBody>
      </p:sp>
      <p:sp>
        <p:nvSpPr>
          <p:cNvPr id="11" name="Rectangle 10">
            <a:extLst>
              <a:ext uri="{FF2B5EF4-FFF2-40B4-BE49-F238E27FC236}">
                <a16:creationId xmlns:a16="http://schemas.microsoft.com/office/drawing/2014/main" id="{6A73D46E-A57C-47BF-BFC4-3BDE56540232}"/>
              </a:ext>
            </a:extLst>
          </p:cNvPr>
          <p:cNvSpPr/>
          <p:nvPr/>
        </p:nvSpPr>
        <p:spPr>
          <a:xfrm>
            <a:off x="-2859985" y="0"/>
            <a:ext cx="2664296" cy="720080"/>
          </a:xfrm>
          <a:prstGeom prst="rect">
            <a:avLst/>
          </a:prstGeom>
          <a:solidFill>
            <a:srgbClr val="FFFED9"/>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Presenter: Kaan</a:t>
            </a:r>
            <a:endParaRPr lang="en-US">
              <a:solidFill>
                <a:schemeClr val="tx1"/>
              </a:solidFill>
            </a:endParaRPr>
          </a:p>
        </p:txBody>
      </p:sp>
    </p:spTree>
    <p:extLst>
      <p:ext uri="{BB962C8B-B14F-4D97-AF65-F5344CB8AC3E}">
        <p14:creationId xmlns:p14="http://schemas.microsoft.com/office/powerpoint/2010/main" val="21805546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88AAA-D239-70DA-8E1E-F60C235006A1}"/>
              </a:ext>
            </a:extLst>
          </p:cNvPr>
          <p:cNvSpPr>
            <a:spLocks noGrp="1"/>
          </p:cNvSpPr>
          <p:nvPr>
            <p:ph type="title"/>
          </p:nvPr>
        </p:nvSpPr>
        <p:spPr/>
        <p:txBody>
          <a:bodyPr/>
          <a:lstStyle/>
          <a:p>
            <a:r>
              <a:rPr lang="en-GB"/>
              <a:t>References</a:t>
            </a:r>
          </a:p>
        </p:txBody>
      </p:sp>
      <p:sp>
        <p:nvSpPr>
          <p:cNvPr id="3" name="Content Placeholder 2">
            <a:extLst>
              <a:ext uri="{FF2B5EF4-FFF2-40B4-BE49-F238E27FC236}">
                <a16:creationId xmlns:a16="http://schemas.microsoft.com/office/drawing/2014/main" id="{56C86766-88B1-33B4-6C82-A24CE94818B7}"/>
              </a:ext>
            </a:extLst>
          </p:cNvPr>
          <p:cNvSpPr>
            <a:spLocks noGrp="1"/>
          </p:cNvSpPr>
          <p:nvPr>
            <p:ph idx="1"/>
          </p:nvPr>
        </p:nvSpPr>
        <p:spPr/>
        <p:txBody>
          <a:bodyPr/>
          <a:lstStyle/>
          <a:p>
            <a:pPr marL="0" indent="0">
              <a:buNone/>
            </a:pPr>
            <a:r>
              <a:rPr lang="en-GB" sz="1400">
                <a:effectLst/>
              </a:rPr>
              <a:t>Wu, P., Cui, Z., Gan, Z., &amp; Liu, F. (2020). Residual Group Channel and Space Attention Network for Hyperspectral Image Classification. </a:t>
            </a:r>
            <a:r>
              <a:rPr lang="en-GB" sz="1400" i="1">
                <a:effectLst/>
              </a:rPr>
              <a:t>Remote Sensing</a:t>
            </a:r>
            <a:r>
              <a:rPr lang="en-GB" sz="1400">
                <a:effectLst/>
              </a:rPr>
              <a:t>, </a:t>
            </a:r>
            <a:r>
              <a:rPr lang="en-GB" sz="1400" i="1">
                <a:effectLst/>
              </a:rPr>
              <a:t>12</a:t>
            </a:r>
            <a:r>
              <a:rPr lang="en-GB" sz="1400">
                <a:effectLst/>
              </a:rPr>
              <a:t>(12), 2035. </a:t>
            </a:r>
            <a:r>
              <a:rPr lang="en-GB" sz="1400">
                <a:effectLst/>
                <a:hlinkClick r:id="rId2"/>
              </a:rPr>
              <a:t>https://doi.org/10.3390/rs12122035</a:t>
            </a:r>
            <a:endParaRPr lang="en-GB" sz="1400">
              <a:effectLst/>
            </a:endParaRPr>
          </a:p>
          <a:p>
            <a:pPr marL="0" indent="0">
              <a:buNone/>
            </a:pPr>
            <a:r>
              <a:rPr lang="en-GB" sz="1400" err="1">
                <a:effectLst/>
              </a:rPr>
              <a:t>Xie</a:t>
            </a:r>
            <a:r>
              <a:rPr lang="en-GB" sz="1400">
                <a:effectLst/>
              </a:rPr>
              <a:t>, S., </a:t>
            </a:r>
            <a:r>
              <a:rPr lang="en-GB" sz="1400" err="1">
                <a:effectLst/>
              </a:rPr>
              <a:t>Girshick</a:t>
            </a:r>
            <a:r>
              <a:rPr lang="en-GB" sz="1400">
                <a:effectLst/>
              </a:rPr>
              <a:t>, R., </a:t>
            </a:r>
            <a:r>
              <a:rPr lang="en-GB" sz="1400" err="1">
                <a:effectLst/>
              </a:rPr>
              <a:t>Dollár</a:t>
            </a:r>
            <a:r>
              <a:rPr lang="en-GB" sz="1400">
                <a:effectLst/>
              </a:rPr>
              <a:t>, P., Tu, Z. &amp; He, K. (2017). Aggregated Residual Transformations for Deep Neural Networks. </a:t>
            </a:r>
            <a:r>
              <a:rPr lang="en-GB" sz="1400">
                <a:effectLst/>
                <a:hlinkClick r:id="rId3"/>
              </a:rPr>
              <a:t>https://doi.org/10.1109/cvpr.2017.634</a:t>
            </a:r>
            <a:endParaRPr lang="en-GB" sz="1400">
              <a:effectLst/>
            </a:endParaRPr>
          </a:p>
          <a:p>
            <a:pPr marL="0" indent="0">
              <a:buNone/>
            </a:pPr>
            <a:r>
              <a:rPr lang="en-GB" sz="1400" err="1">
                <a:effectLst/>
              </a:rPr>
              <a:t>Yaroslav</a:t>
            </a:r>
            <a:r>
              <a:rPr lang="en-GB" sz="1400">
                <a:effectLst/>
              </a:rPr>
              <a:t> </a:t>
            </a:r>
            <a:r>
              <a:rPr lang="en-GB" sz="1400" err="1">
                <a:effectLst/>
              </a:rPr>
              <a:t>Ganin</a:t>
            </a:r>
            <a:r>
              <a:rPr lang="en-GB" sz="1400">
                <a:effectLst/>
              </a:rPr>
              <a:t>, Evgeniya </a:t>
            </a:r>
            <a:r>
              <a:rPr lang="en-GB" sz="1400" err="1">
                <a:effectLst/>
              </a:rPr>
              <a:t>Ustinova</a:t>
            </a:r>
            <a:r>
              <a:rPr lang="en-GB" sz="1400">
                <a:effectLst/>
              </a:rPr>
              <a:t>, Hana </a:t>
            </a:r>
            <a:r>
              <a:rPr lang="en-GB" sz="1400" err="1">
                <a:effectLst/>
              </a:rPr>
              <a:t>Ajakan</a:t>
            </a:r>
            <a:r>
              <a:rPr lang="en-GB" sz="1400">
                <a:effectLst/>
              </a:rPr>
              <a:t>, Pascal Germain, Hugo Larochelle, François Laviolette, Mario Marchand, &amp; Victor </a:t>
            </a:r>
            <a:r>
              <a:rPr lang="en-GB" sz="1400" err="1">
                <a:effectLst/>
              </a:rPr>
              <a:t>Lempitsky</a:t>
            </a:r>
            <a:r>
              <a:rPr lang="en-GB" sz="1400">
                <a:effectLst/>
              </a:rPr>
              <a:t>. (2016). Domain-Adversarial Training of Neural Networks. </a:t>
            </a:r>
          </a:p>
          <a:p>
            <a:pPr marL="0" indent="0">
              <a:buNone/>
            </a:pPr>
            <a:endParaRPr lang="en-GB" sz="1400">
              <a:effectLst/>
            </a:endParaRPr>
          </a:p>
          <a:p>
            <a:pPr marL="0" indent="0">
              <a:buNone/>
            </a:pPr>
            <a:endParaRPr lang="en-GB" sz="1400">
              <a:effectLst/>
            </a:endParaRPr>
          </a:p>
          <a:p>
            <a:pPr marL="0" indent="0">
              <a:buNone/>
            </a:pPr>
            <a:endParaRPr lang="en-GB"/>
          </a:p>
        </p:txBody>
      </p:sp>
      <p:sp>
        <p:nvSpPr>
          <p:cNvPr id="4" name="Slide Number Placeholder 3">
            <a:extLst>
              <a:ext uri="{FF2B5EF4-FFF2-40B4-BE49-F238E27FC236}">
                <a16:creationId xmlns:a16="http://schemas.microsoft.com/office/drawing/2014/main" id="{00E81FBD-8C08-CD0B-F6F8-B1AA3BB12F62}"/>
              </a:ext>
            </a:extLst>
          </p:cNvPr>
          <p:cNvSpPr>
            <a:spLocks noGrp="1"/>
          </p:cNvSpPr>
          <p:nvPr>
            <p:ph type="sldNum" sz="quarter" idx="4"/>
          </p:nvPr>
        </p:nvSpPr>
        <p:spPr/>
        <p:txBody>
          <a:bodyPr/>
          <a:lstStyle/>
          <a:p>
            <a:fld id="{1FF5481D-800C-4F34-B3D6-C18BC0A4FD2D}" type="slidenum">
              <a:rPr lang="de-CH" smtClean="0"/>
              <a:pPr/>
              <a:t>10</a:t>
            </a:fld>
            <a:endParaRPr lang="de-CH"/>
          </a:p>
        </p:txBody>
      </p:sp>
      <p:sp>
        <p:nvSpPr>
          <p:cNvPr id="5" name="Footer Placeholder 4">
            <a:extLst>
              <a:ext uri="{FF2B5EF4-FFF2-40B4-BE49-F238E27FC236}">
                <a16:creationId xmlns:a16="http://schemas.microsoft.com/office/drawing/2014/main" id="{932F3474-960D-1C1F-4228-9AFD833EDCA3}"/>
              </a:ext>
            </a:extLst>
          </p:cNvPr>
          <p:cNvSpPr>
            <a:spLocks noGrp="1"/>
          </p:cNvSpPr>
          <p:nvPr>
            <p:ph type="ftr" sz="quarter" idx="3"/>
          </p:nvPr>
        </p:nvSpPr>
        <p:spPr/>
        <p:txBody>
          <a:bodyPr/>
          <a:lstStyle/>
          <a:p>
            <a:r>
              <a:rPr lang="en-US" noProof="0"/>
              <a:t>Prof. Damian Borth - Artificial Intelligence &amp; Machine Learning [AIML]</a:t>
            </a:r>
          </a:p>
        </p:txBody>
      </p:sp>
    </p:spTree>
    <p:extLst>
      <p:ext uri="{BB962C8B-B14F-4D97-AF65-F5344CB8AC3E}">
        <p14:creationId xmlns:p14="http://schemas.microsoft.com/office/powerpoint/2010/main" val="17917843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006E80-1F09-A376-906D-D2B9048A2BA4}"/>
              </a:ext>
            </a:extLst>
          </p:cNvPr>
          <p:cNvPicPr>
            <a:picLocks noChangeAspect="1"/>
          </p:cNvPicPr>
          <p:nvPr/>
        </p:nvPicPr>
        <p:blipFill rotWithShape="1">
          <a:blip r:embed="rId3"/>
          <a:srcRect t="18513" b="18567"/>
          <a:stretch/>
        </p:blipFill>
        <p:spPr>
          <a:xfrm>
            <a:off x="0" y="978915"/>
            <a:ext cx="12193588" cy="4248472"/>
          </a:xfrm>
          <a:prstGeom prst="rect">
            <a:avLst/>
          </a:prstGeom>
          <a:effectLst>
            <a:innerShdw blurRad="63500" dist="50800" dir="16200000">
              <a:prstClr val="black">
                <a:alpha val="50000"/>
              </a:prstClr>
            </a:innerShdw>
          </a:effectLst>
        </p:spPr>
      </p:pic>
      <p:sp>
        <p:nvSpPr>
          <p:cNvPr id="10" name="Rectangle 9">
            <a:extLst>
              <a:ext uri="{FF2B5EF4-FFF2-40B4-BE49-F238E27FC236}">
                <a16:creationId xmlns:a16="http://schemas.microsoft.com/office/drawing/2014/main" id="{62F4010E-1B57-E747-88F7-3BFEB4CB7D33}"/>
              </a:ext>
            </a:extLst>
          </p:cNvPr>
          <p:cNvSpPr/>
          <p:nvPr/>
        </p:nvSpPr>
        <p:spPr>
          <a:xfrm>
            <a:off x="9303478" y="5627214"/>
            <a:ext cx="1365316" cy="373537"/>
          </a:xfrm>
          <a:prstGeom prst="rect">
            <a:avLst/>
          </a:prstGeom>
          <a:solidFill>
            <a:schemeClr val="bg1"/>
          </a:solidFill>
          <a:ln w="6350">
            <a:noFill/>
          </a:ln>
          <a:effectLst/>
        </p:spPr>
        <p:txBody>
          <a:bodyPr vert="horz" wrap="square" lIns="91440" tIns="45720" rIns="91440" bIns="45720" rtlCol="0" anchor="ctr">
            <a:noAutofit/>
          </a:bodyPr>
          <a:lstStyle/>
          <a:p>
            <a:pPr algn="ctr"/>
            <a:endParaRPr lang="de-DE"/>
          </a:p>
        </p:txBody>
      </p:sp>
      <p:sp>
        <p:nvSpPr>
          <p:cNvPr id="4" name="TextBox 3">
            <a:extLst>
              <a:ext uri="{FF2B5EF4-FFF2-40B4-BE49-F238E27FC236}">
                <a16:creationId xmlns:a16="http://schemas.microsoft.com/office/drawing/2014/main" id="{D60E2CDA-628A-D647-BD90-E161DE4078B0}"/>
              </a:ext>
            </a:extLst>
          </p:cNvPr>
          <p:cNvSpPr txBox="1"/>
          <p:nvPr/>
        </p:nvSpPr>
        <p:spPr>
          <a:xfrm>
            <a:off x="624186" y="5444650"/>
            <a:ext cx="7349448" cy="738664"/>
          </a:xfrm>
          <a:prstGeom prst="rect">
            <a:avLst/>
          </a:prstGeom>
          <a:noFill/>
        </p:spPr>
        <p:txBody>
          <a:bodyPr wrap="none" rtlCol="0">
            <a:spAutoFit/>
          </a:bodyPr>
          <a:lstStyle/>
          <a:p>
            <a:r>
              <a:rPr lang="en-US" sz="4200" cap="all">
                <a:latin typeface="Titillium Web" pitchFamily="2" charset="77"/>
              </a:rPr>
              <a:t>Thank you!  - Any questions?</a:t>
            </a:r>
          </a:p>
        </p:txBody>
      </p:sp>
      <p:sp>
        <p:nvSpPr>
          <p:cNvPr id="7" name="Slide Number Placeholder 6">
            <a:extLst>
              <a:ext uri="{FF2B5EF4-FFF2-40B4-BE49-F238E27FC236}">
                <a16:creationId xmlns:a16="http://schemas.microsoft.com/office/drawing/2014/main" id="{A015F03F-F06C-2E4F-8F90-FBC513507B6A}"/>
              </a:ext>
            </a:extLst>
          </p:cNvPr>
          <p:cNvSpPr>
            <a:spLocks noGrp="1"/>
          </p:cNvSpPr>
          <p:nvPr>
            <p:ph type="sldNum" sz="quarter" idx="4"/>
          </p:nvPr>
        </p:nvSpPr>
        <p:spPr/>
        <p:txBody>
          <a:bodyPr/>
          <a:lstStyle/>
          <a:p>
            <a:fld id="{1FF5481D-800C-4F34-B3D6-C18BC0A4FD2D}" type="slidenum">
              <a:rPr lang="de-CH" smtClean="0"/>
              <a:pPr/>
              <a:t>11</a:t>
            </a:fld>
            <a:endParaRPr lang="de-CH"/>
          </a:p>
        </p:txBody>
      </p:sp>
      <p:sp>
        <p:nvSpPr>
          <p:cNvPr id="3" name="Footer Placeholder 2">
            <a:extLst>
              <a:ext uri="{FF2B5EF4-FFF2-40B4-BE49-F238E27FC236}">
                <a16:creationId xmlns:a16="http://schemas.microsoft.com/office/drawing/2014/main" id="{FA5B9829-2DFE-DD44-A3E4-57956E274F1B}"/>
              </a:ext>
            </a:extLst>
          </p:cNvPr>
          <p:cNvSpPr>
            <a:spLocks noGrp="1"/>
          </p:cNvSpPr>
          <p:nvPr>
            <p:ph type="ftr" sz="quarter" idx="3"/>
          </p:nvPr>
        </p:nvSpPr>
        <p:spPr/>
        <p:txBody>
          <a:bodyPr/>
          <a:lstStyle/>
          <a:p>
            <a:r>
              <a:rPr lang="en-US" noProof="0"/>
              <a:t>Prof. Damian Borth - Artificial Intelligence &amp; Machine Learning [AIML]</a:t>
            </a:r>
          </a:p>
        </p:txBody>
      </p:sp>
      <p:sp>
        <p:nvSpPr>
          <p:cNvPr id="9" name="Rectangle 8">
            <a:extLst>
              <a:ext uri="{FF2B5EF4-FFF2-40B4-BE49-F238E27FC236}">
                <a16:creationId xmlns:a16="http://schemas.microsoft.com/office/drawing/2014/main" id="{62283BC8-4B45-47C3-9536-0BA7DE45A003}"/>
              </a:ext>
            </a:extLst>
          </p:cNvPr>
          <p:cNvSpPr/>
          <p:nvPr/>
        </p:nvSpPr>
        <p:spPr>
          <a:xfrm>
            <a:off x="-2859985" y="0"/>
            <a:ext cx="2664296" cy="720080"/>
          </a:xfrm>
          <a:prstGeom prst="rect">
            <a:avLst/>
          </a:prstGeom>
          <a:solidFill>
            <a:srgbClr val="FFFED9"/>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Presenter: Flo</a:t>
            </a:r>
            <a:endParaRPr lang="en-US">
              <a:solidFill>
                <a:schemeClr val="tx1"/>
              </a:solidFill>
            </a:endParaRPr>
          </a:p>
        </p:txBody>
      </p:sp>
    </p:spTree>
    <p:extLst>
      <p:ext uri="{BB962C8B-B14F-4D97-AF65-F5344CB8AC3E}">
        <p14:creationId xmlns:p14="http://schemas.microsoft.com/office/powerpoint/2010/main" val="3290957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C15328-2884-4F93-8440-7422097A0412}"/>
              </a:ext>
            </a:extLst>
          </p:cNvPr>
          <p:cNvGraphicFramePr>
            <a:graphicFrameLocks noChangeAspect="1"/>
          </p:cNvGraphicFramePr>
          <p:nvPr>
            <p:custDataLst>
              <p:tags r:id="rId2"/>
            </p:custDataLst>
            <p:extLst>
              <p:ext uri="{D42A27DB-BD31-4B8C-83A1-F6EECF244321}">
                <p14:modId xmlns:p14="http://schemas.microsoft.com/office/powerpoint/2010/main" val="29065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592" imgH="591" progId="TCLayout.ActiveDocument.1">
                  <p:embed/>
                </p:oleObj>
              </mc:Choice>
              <mc:Fallback>
                <p:oleObj name="think-cell Slide" r:id="rId5" imgW="592" imgH="591" progId="TCLayout.ActiveDocument.1">
                  <p:embed/>
                  <p:pic>
                    <p:nvPicPr>
                      <p:cNvPr id="7" name="think-cell data - do not delete" hidden="1">
                        <a:extLst>
                          <a:ext uri="{FF2B5EF4-FFF2-40B4-BE49-F238E27FC236}">
                            <a16:creationId xmlns:a16="http://schemas.microsoft.com/office/drawing/2014/main" id="{2AC15328-2884-4F93-8440-7422097A04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Autofit/>
          </a:bodyPr>
          <a:lstStyle/>
          <a:p>
            <a:r>
              <a:rPr lang="en-US"/>
              <a:t>Team Introduction</a:t>
            </a:r>
          </a:p>
        </p:txBody>
      </p:sp>
      <p:sp>
        <p:nvSpPr>
          <p:cNvPr id="4" name="Slide Number Placeholder 3">
            <a:extLst>
              <a:ext uri="{FF2B5EF4-FFF2-40B4-BE49-F238E27FC236}">
                <a16:creationId xmlns:a16="http://schemas.microsoft.com/office/drawing/2014/main" id="{B1831791-37DA-C749-8646-93BA991B91D0}"/>
              </a:ext>
            </a:extLst>
          </p:cNvPr>
          <p:cNvSpPr>
            <a:spLocks noGrp="1"/>
          </p:cNvSpPr>
          <p:nvPr>
            <p:ph type="sldNum" sz="quarter" idx="4"/>
          </p:nvPr>
        </p:nvSpPr>
        <p:spPr/>
        <p:txBody>
          <a:bodyPr/>
          <a:lstStyle/>
          <a:p>
            <a:fld id="{1FF5481D-800C-4F34-B3D6-C18BC0A4FD2D}" type="slidenum">
              <a:rPr lang="de-CH" smtClean="0"/>
              <a:pPr/>
              <a:t>2</a:t>
            </a:fld>
            <a:endParaRPr lang="de-CH"/>
          </a:p>
        </p:txBody>
      </p:sp>
      <p:sp>
        <p:nvSpPr>
          <p:cNvPr id="5" name="Footer Placeholder 4">
            <a:extLst>
              <a:ext uri="{FF2B5EF4-FFF2-40B4-BE49-F238E27FC236}">
                <a16:creationId xmlns:a16="http://schemas.microsoft.com/office/drawing/2014/main" id="{8CB8985B-6C95-BC44-8784-8F90D34EA5F6}"/>
              </a:ext>
            </a:extLst>
          </p:cNvPr>
          <p:cNvSpPr>
            <a:spLocks noGrp="1"/>
          </p:cNvSpPr>
          <p:nvPr>
            <p:ph type="ftr" sz="quarter" idx="3"/>
          </p:nvPr>
        </p:nvSpPr>
        <p:spPr/>
        <p:txBody>
          <a:bodyPr/>
          <a:lstStyle/>
          <a:p>
            <a:r>
              <a:rPr lang="en-US" noProof="0"/>
              <a:t>Prof. Damian Borth - Artificial Intelligence &amp; Machine Learning [AIML]</a:t>
            </a:r>
          </a:p>
        </p:txBody>
      </p:sp>
      <p:pic>
        <p:nvPicPr>
          <p:cNvPr id="3079" name="Picture 7">
            <a:extLst>
              <a:ext uri="{FF2B5EF4-FFF2-40B4-BE49-F238E27FC236}">
                <a16:creationId xmlns:a16="http://schemas.microsoft.com/office/drawing/2014/main" id="{4648CB29-EF32-44C3-B687-EF09F034122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71868" y="1962839"/>
            <a:ext cx="2592290" cy="2592290"/>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a:extLst>
              <a:ext uri="{FF2B5EF4-FFF2-40B4-BE49-F238E27FC236}">
                <a16:creationId xmlns:a16="http://schemas.microsoft.com/office/drawing/2014/main" id="{0C9680C4-DD96-4D18-AAF4-91E33AD8A87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29430" y="1962839"/>
            <a:ext cx="2592288" cy="259229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6BF3AB8F-4DD6-4CC4-9D62-8B66CDDF23FE}"/>
              </a:ext>
            </a:extLst>
          </p:cNvPr>
          <p:cNvSpPr/>
          <p:nvPr/>
        </p:nvSpPr>
        <p:spPr>
          <a:xfrm>
            <a:off x="1229375" y="5013176"/>
            <a:ext cx="4592398" cy="666977"/>
          </a:xfrm>
          <a:prstGeom prst="rect">
            <a:avLst/>
          </a:prstGeom>
        </p:spPr>
        <p:txBody>
          <a:bodyPr wrap="square" anchor="ctr">
            <a:noAutofit/>
          </a:bodyPr>
          <a:lstStyle/>
          <a:p>
            <a:pPr algn="ctr"/>
            <a:r>
              <a:rPr lang="en-AU" sz="3200" b="1">
                <a:solidFill>
                  <a:schemeClr val="accent2"/>
                </a:solidFill>
                <a:latin typeface="Titillium Web"/>
              </a:rPr>
              <a:t>Florence </a:t>
            </a:r>
            <a:br>
              <a:rPr lang="en-AU" sz="3200" b="1">
                <a:solidFill>
                  <a:schemeClr val="accent2"/>
                </a:solidFill>
                <a:latin typeface="Titillium Web"/>
              </a:rPr>
            </a:br>
            <a:r>
              <a:rPr lang="en-AU" sz="3200" b="1">
                <a:solidFill>
                  <a:schemeClr val="accent2"/>
                </a:solidFill>
                <a:latin typeface="Titillium Web"/>
              </a:rPr>
              <a:t>Pfammatter</a:t>
            </a:r>
          </a:p>
        </p:txBody>
      </p:sp>
      <p:sp>
        <p:nvSpPr>
          <p:cNvPr id="11" name="Rectangle 10">
            <a:extLst>
              <a:ext uri="{FF2B5EF4-FFF2-40B4-BE49-F238E27FC236}">
                <a16:creationId xmlns:a16="http://schemas.microsoft.com/office/drawing/2014/main" id="{2F7E091C-A43B-48AC-B43A-9B0F397B58E6}"/>
              </a:ext>
            </a:extLst>
          </p:cNvPr>
          <p:cNvSpPr/>
          <p:nvPr/>
        </p:nvSpPr>
        <p:spPr>
          <a:xfrm>
            <a:off x="6371812" y="5013177"/>
            <a:ext cx="4592400" cy="666977"/>
          </a:xfrm>
          <a:prstGeom prst="rect">
            <a:avLst/>
          </a:prstGeom>
        </p:spPr>
        <p:txBody>
          <a:bodyPr wrap="none" anchor="ctr">
            <a:noAutofit/>
          </a:bodyPr>
          <a:lstStyle/>
          <a:p>
            <a:pPr algn="ctr"/>
            <a:r>
              <a:rPr lang="en-AU" sz="3200" b="1">
                <a:solidFill>
                  <a:schemeClr val="accent2"/>
                </a:solidFill>
                <a:latin typeface="Titillium Web"/>
              </a:rPr>
              <a:t>Kaan </a:t>
            </a:r>
            <a:br>
              <a:rPr lang="en-AU" sz="3200" b="1">
                <a:solidFill>
                  <a:schemeClr val="accent2"/>
                </a:solidFill>
                <a:latin typeface="Titillium Web"/>
              </a:rPr>
            </a:br>
            <a:r>
              <a:rPr lang="en-AU" sz="3200" b="1">
                <a:solidFill>
                  <a:schemeClr val="accent2"/>
                </a:solidFill>
                <a:latin typeface="Titillium Web"/>
              </a:rPr>
              <a:t>Aydin</a:t>
            </a:r>
          </a:p>
        </p:txBody>
      </p:sp>
      <p:sp>
        <p:nvSpPr>
          <p:cNvPr id="3" name="Rectangle 2">
            <a:extLst>
              <a:ext uri="{FF2B5EF4-FFF2-40B4-BE49-F238E27FC236}">
                <a16:creationId xmlns:a16="http://schemas.microsoft.com/office/drawing/2014/main" id="{63849ACE-E810-410D-B721-91C4C6377E35}"/>
              </a:ext>
            </a:extLst>
          </p:cNvPr>
          <p:cNvSpPr/>
          <p:nvPr/>
        </p:nvSpPr>
        <p:spPr>
          <a:xfrm>
            <a:off x="-2859985" y="0"/>
            <a:ext cx="2664296" cy="720080"/>
          </a:xfrm>
          <a:prstGeom prst="rect">
            <a:avLst/>
          </a:prstGeom>
          <a:solidFill>
            <a:srgbClr val="FFFED9"/>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Presenter: Kaan</a:t>
            </a:r>
            <a:endParaRPr lang="en-US">
              <a:solidFill>
                <a:schemeClr val="tx1"/>
              </a:solidFill>
            </a:endParaRPr>
          </a:p>
        </p:txBody>
      </p:sp>
    </p:spTree>
    <p:extLst>
      <p:ext uri="{BB962C8B-B14F-4D97-AF65-F5344CB8AC3E}">
        <p14:creationId xmlns:p14="http://schemas.microsoft.com/office/powerpoint/2010/main" val="36754523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C15328-2884-4F93-8440-7422097A0412}"/>
              </a:ext>
            </a:extLst>
          </p:cNvPr>
          <p:cNvGraphicFramePr>
            <a:graphicFrameLocks noChangeAspect="1"/>
          </p:cNvGraphicFramePr>
          <p:nvPr>
            <p:custDataLst>
              <p:tags r:id="rId2"/>
            </p:custDataLst>
            <p:extLst>
              <p:ext uri="{D42A27DB-BD31-4B8C-83A1-F6EECF244321}">
                <p14:modId xmlns:p14="http://schemas.microsoft.com/office/powerpoint/2010/main" val="645537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40" imgW="592" imgH="591" progId="TCLayout.ActiveDocument.1">
                  <p:embed/>
                </p:oleObj>
              </mc:Choice>
              <mc:Fallback>
                <p:oleObj name="think-cell Slide" r:id="rId40" imgW="592" imgH="591" progId="TCLayout.ActiveDocument.1">
                  <p:embed/>
                  <p:pic>
                    <p:nvPicPr>
                      <p:cNvPr id="7" name="think-cell data - do not delete" hidden="1">
                        <a:extLst>
                          <a:ext uri="{FF2B5EF4-FFF2-40B4-BE49-F238E27FC236}">
                            <a16:creationId xmlns:a16="http://schemas.microsoft.com/office/drawing/2014/main" id="{2AC15328-2884-4F93-8440-7422097A0412}"/>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cxnSp>
        <p:nvCxnSpPr>
          <p:cNvPr id="945" name="Straight Connector 944">
            <a:extLst>
              <a:ext uri="{FF2B5EF4-FFF2-40B4-BE49-F238E27FC236}">
                <a16:creationId xmlns:a16="http://schemas.microsoft.com/office/drawing/2014/main" id="{EC5167C5-7EB0-4086-B091-09E181896C50}"/>
              </a:ext>
            </a:extLst>
          </p:cNvPr>
          <p:cNvCxnSpPr/>
          <p:nvPr>
            <p:custDataLst>
              <p:tags r:id="rId3"/>
            </p:custDataLst>
          </p:nvPr>
        </p:nvCxnSpPr>
        <p:spPr bwMode="auto">
          <a:xfrm flipH="1">
            <a:off x="1212850" y="4908550"/>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6" name="Straight Connector 945">
            <a:extLst>
              <a:ext uri="{FF2B5EF4-FFF2-40B4-BE49-F238E27FC236}">
                <a16:creationId xmlns:a16="http://schemas.microsoft.com/office/drawing/2014/main" id="{CD6A3B20-6CF8-4C31-BAA2-1C65EB9F0623}"/>
              </a:ext>
            </a:extLst>
          </p:cNvPr>
          <p:cNvCxnSpPr/>
          <p:nvPr>
            <p:custDataLst>
              <p:tags r:id="rId4"/>
            </p:custDataLst>
          </p:nvPr>
        </p:nvCxnSpPr>
        <p:spPr bwMode="auto">
          <a:xfrm flipH="1">
            <a:off x="1212850" y="4648200"/>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7" name="Straight Connector 946">
            <a:extLst>
              <a:ext uri="{FF2B5EF4-FFF2-40B4-BE49-F238E27FC236}">
                <a16:creationId xmlns:a16="http://schemas.microsoft.com/office/drawing/2014/main" id="{4625116C-8C50-49D5-81C4-824F205142FB}"/>
              </a:ext>
            </a:extLst>
          </p:cNvPr>
          <p:cNvCxnSpPr/>
          <p:nvPr>
            <p:custDataLst>
              <p:tags r:id="rId5"/>
            </p:custDataLst>
          </p:nvPr>
        </p:nvCxnSpPr>
        <p:spPr bwMode="auto">
          <a:xfrm flipH="1">
            <a:off x="1212850" y="4387850"/>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8" name="Straight Connector 947">
            <a:extLst>
              <a:ext uri="{FF2B5EF4-FFF2-40B4-BE49-F238E27FC236}">
                <a16:creationId xmlns:a16="http://schemas.microsoft.com/office/drawing/2014/main" id="{CE61A5E6-9788-4F90-8E4D-BB8C9F3231A8}"/>
              </a:ext>
            </a:extLst>
          </p:cNvPr>
          <p:cNvCxnSpPr/>
          <p:nvPr>
            <p:custDataLst>
              <p:tags r:id="rId6"/>
            </p:custDataLst>
          </p:nvPr>
        </p:nvCxnSpPr>
        <p:spPr bwMode="auto">
          <a:xfrm flipH="1">
            <a:off x="1212850" y="4125913"/>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9" name="Straight Connector 948">
            <a:extLst>
              <a:ext uri="{FF2B5EF4-FFF2-40B4-BE49-F238E27FC236}">
                <a16:creationId xmlns:a16="http://schemas.microsoft.com/office/drawing/2014/main" id="{31DB5348-1D07-4ABD-B1FB-602CA81F618E}"/>
              </a:ext>
            </a:extLst>
          </p:cNvPr>
          <p:cNvCxnSpPr/>
          <p:nvPr>
            <p:custDataLst>
              <p:tags r:id="rId7"/>
            </p:custDataLst>
          </p:nvPr>
        </p:nvCxnSpPr>
        <p:spPr bwMode="auto">
          <a:xfrm flipH="1">
            <a:off x="1212850" y="3865563"/>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0" name="Straight Connector 949">
            <a:extLst>
              <a:ext uri="{FF2B5EF4-FFF2-40B4-BE49-F238E27FC236}">
                <a16:creationId xmlns:a16="http://schemas.microsoft.com/office/drawing/2014/main" id="{B1F8BE67-341E-435E-B78E-B9DDFE677881}"/>
              </a:ext>
            </a:extLst>
          </p:cNvPr>
          <p:cNvCxnSpPr/>
          <p:nvPr>
            <p:custDataLst>
              <p:tags r:id="rId8"/>
            </p:custDataLst>
          </p:nvPr>
        </p:nvCxnSpPr>
        <p:spPr bwMode="auto">
          <a:xfrm flipH="1">
            <a:off x="1212850" y="3605213"/>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1" name="Straight Connector 950">
            <a:extLst>
              <a:ext uri="{FF2B5EF4-FFF2-40B4-BE49-F238E27FC236}">
                <a16:creationId xmlns:a16="http://schemas.microsoft.com/office/drawing/2014/main" id="{362567EC-E486-4A93-9BA7-C1DE02BE9639}"/>
              </a:ext>
            </a:extLst>
          </p:cNvPr>
          <p:cNvCxnSpPr/>
          <p:nvPr>
            <p:custDataLst>
              <p:tags r:id="rId9"/>
            </p:custDataLst>
          </p:nvPr>
        </p:nvCxnSpPr>
        <p:spPr bwMode="auto">
          <a:xfrm flipH="1">
            <a:off x="1212850" y="3343275"/>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2" name="Straight Connector 951">
            <a:extLst>
              <a:ext uri="{FF2B5EF4-FFF2-40B4-BE49-F238E27FC236}">
                <a16:creationId xmlns:a16="http://schemas.microsoft.com/office/drawing/2014/main" id="{BFDA10C6-3C6B-43F9-BE9F-DC20BBDEC322}"/>
              </a:ext>
            </a:extLst>
          </p:cNvPr>
          <p:cNvCxnSpPr/>
          <p:nvPr>
            <p:custDataLst>
              <p:tags r:id="rId10"/>
            </p:custDataLst>
          </p:nvPr>
        </p:nvCxnSpPr>
        <p:spPr bwMode="auto">
          <a:xfrm flipH="1">
            <a:off x="1212850" y="3082925"/>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3" name="Straight Connector 952">
            <a:extLst>
              <a:ext uri="{FF2B5EF4-FFF2-40B4-BE49-F238E27FC236}">
                <a16:creationId xmlns:a16="http://schemas.microsoft.com/office/drawing/2014/main" id="{9D0F77A3-B365-4C2F-8E36-B3EC61368EDD}"/>
              </a:ext>
            </a:extLst>
          </p:cNvPr>
          <p:cNvCxnSpPr/>
          <p:nvPr>
            <p:custDataLst>
              <p:tags r:id="rId11"/>
            </p:custDataLst>
          </p:nvPr>
        </p:nvCxnSpPr>
        <p:spPr bwMode="auto">
          <a:xfrm flipH="1">
            <a:off x="1212850" y="2820988"/>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4" name="Straight Connector 953">
            <a:extLst>
              <a:ext uri="{FF2B5EF4-FFF2-40B4-BE49-F238E27FC236}">
                <a16:creationId xmlns:a16="http://schemas.microsoft.com/office/drawing/2014/main" id="{A20505AE-A96C-4568-AB1C-0A98C97CB149}"/>
              </a:ext>
            </a:extLst>
          </p:cNvPr>
          <p:cNvCxnSpPr/>
          <p:nvPr>
            <p:custDataLst>
              <p:tags r:id="rId12"/>
            </p:custDataLst>
          </p:nvPr>
        </p:nvCxnSpPr>
        <p:spPr bwMode="auto">
          <a:xfrm flipH="1">
            <a:off x="1212850" y="2560638"/>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5" name="Straight Connector 954">
            <a:extLst>
              <a:ext uri="{FF2B5EF4-FFF2-40B4-BE49-F238E27FC236}">
                <a16:creationId xmlns:a16="http://schemas.microsoft.com/office/drawing/2014/main" id="{0D51A873-6EC5-4ED7-A115-8E0DABDD7A75}"/>
              </a:ext>
            </a:extLst>
          </p:cNvPr>
          <p:cNvCxnSpPr/>
          <p:nvPr>
            <p:custDataLst>
              <p:tags r:id="rId13"/>
            </p:custDataLst>
          </p:nvPr>
        </p:nvCxnSpPr>
        <p:spPr bwMode="auto">
          <a:xfrm flipH="1">
            <a:off x="1212850" y="2300288"/>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06" name="Chart 205">
            <a:extLst>
              <a:ext uri="{FF2B5EF4-FFF2-40B4-BE49-F238E27FC236}">
                <a16:creationId xmlns:a16="http://schemas.microsoft.com/office/drawing/2014/main" id="{E8CE8633-5E24-42ED-8B82-AE9D90CF9653}"/>
              </a:ext>
            </a:extLst>
          </p:cNvPr>
          <p:cNvGraphicFramePr/>
          <p:nvPr>
            <p:custDataLst>
              <p:tags r:id="rId14"/>
            </p:custDataLst>
            <p:extLst>
              <p:ext uri="{D42A27DB-BD31-4B8C-83A1-F6EECF244321}">
                <p14:modId xmlns:p14="http://schemas.microsoft.com/office/powerpoint/2010/main" val="3553676928"/>
              </p:ext>
            </p:extLst>
          </p:nvPr>
        </p:nvGraphicFramePr>
        <p:xfrm>
          <a:off x="1025525" y="2217738"/>
          <a:ext cx="7269163" cy="3448050"/>
        </p:xfrm>
        <a:graphic>
          <a:graphicData uri="http://schemas.openxmlformats.org/drawingml/2006/chart">
            <c:chart xmlns:c="http://schemas.openxmlformats.org/drawingml/2006/chart" xmlns:r="http://schemas.openxmlformats.org/officeDocument/2006/relationships" r:id="rId42"/>
          </a:graphicData>
        </a:graphic>
      </p:graphicFrame>
      <p:sp>
        <p:nvSpPr>
          <p:cNvPr id="931" name="Rectangle 930">
            <a:extLst>
              <a:ext uri="{FF2B5EF4-FFF2-40B4-BE49-F238E27FC236}">
                <a16:creationId xmlns:a16="http://schemas.microsoft.com/office/drawing/2014/main" id="{65CD297A-E7F5-4158-B972-AEA4F1288EE2}"/>
              </a:ext>
            </a:extLst>
          </p:cNvPr>
          <p:cNvSpPr/>
          <p:nvPr>
            <p:custDataLst>
              <p:tags r:id="rId15"/>
            </p:custDataLst>
          </p:nvPr>
        </p:nvSpPr>
        <p:spPr bwMode="gray">
          <a:xfrm>
            <a:off x="787401" y="4818063"/>
            <a:ext cx="307975" cy="192088"/>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901EF95-8157-43B2-A7EE-DA6371DB90C1}" type="datetime'''''''''''1''''''5''''''''''''''''''''''''''%'''''">
              <a:rPr lang="en-US" altLang="en-US" sz="1400" smtClean="0">
                <a:solidFill>
                  <a:schemeClr val="tx1"/>
                </a:solidFill>
                <a:latin typeface="Titillium Web"/>
                <a:sym typeface="Titillium Web"/>
              </a:rPr>
              <a:pPr algn="r">
                <a:lnSpc>
                  <a:spcPct val="90000"/>
                </a:lnSpc>
                <a:spcBef>
                  <a:spcPct val="0"/>
                </a:spcBef>
                <a:spcAft>
                  <a:spcPct val="0"/>
                </a:spcAft>
              </a:pPr>
              <a:t>15%</a:t>
            </a:fld>
            <a:endParaRPr lang="en-US" sz="1400">
              <a:solidFill>
                <a:schemeClr val="tx1"/>
              </a:solidFill>
              <a:latin typeface="Titillium Web"/>
              <a:sym typeface="Titillium Web"/>
            </a:endParaRPr>
          </a:p>
        </p:txBody>
      </p:sp>
      <p:sp>
        <p:nvSpPr>
          <p:cNvPr id="932" name="Rectangle 931">
            <a:extLst>
              <a:ext uri="{FF2B5EF4-FFF2-40B4-BE49-F238E27FC236}">
                <a16:creationId xmlns:a16="http://schemas.microsoft.com/office/drawing/2014/main" id="{712FD030-484F-43AA-BFD8-A745FAD71CCE}"/>
              </a:ext>
            </a:extLst>
          </p:cNvPr>
          <p:cNvSpPr/>
          <p:nvPr>
            <p:custDataLst>
              <p:tags r:id="rId16"/>
            </p:custDataLst>
          </p:nvPr>
        </p:nvSpPr>
        <p:spPr bwMode="gray">
          <a:xfrm>
            <a:off x="787401" y="4557713"/>
            <a:ext cx="307975" cy="192088"/>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235596A-BA86-418A-9178-1A91B9FF903E}" type="datetime'''''''''''''2''''''''''''''''0''''''''%'''''''''''''''">
              <a:rPr lang="en-US" altLang="en-US" sz="1400" smtClean="0">
                <a:solidFill>
                  <a:schemeClr val="tx1"/>
                </a:solidFill>
                <a:latin typeface="Titillium Web"/>
                <a:sym typeface="Titillium Web"/>
              </a:rPr>
              <a:pPr algn="r">
                <a:lnSpc>
                  <a:spcPct val="90000"/>
                </a:lnSpc>
                <a:spcBef>
                  <a:spcPct val="0"/>
                </a:spcBef>
                <a:spcAft>
                  <a:spcPct val="0"/>
                </a:spcAft>
              </a:pPr>
              <a:t>20%</a:t>
            </a:fld>
            <a:endParaRPr lang="en-US" sz="1400">
              <a:solidFill>
                <a:schemeClr val="tx1"/>
              </a:solidFill>
              <a:latin typeface="Titillium Web"/>
              <a:sym typeface="Titillium Web"/>
            </a:endParaRPr>
          </a:p>
        </p:txBody>
      </p:sp>
      <p:sp>
        <p:nvSpPr>
          <p:cNvPr id="933" name="Rectangle 932">
            <a:extLst>
              <a:ext uri="{FF2B5EF4-FFF2-40B4-BE49-F238E27FC236}">
                <a16:creationId xmlns:a16="http://schemas.microsoft.com/office/drawing/2014/main" id="{5DB604B5-50DA-4197-9B9B-85A38286CB0C}"/>
              </a:ext>
            </a:extLst>
          </p:cNvPr>
          <p:cNvSpPr/>
          <p:nvPr>
            <p:custDataLst>
              <p:tags r:id="rId17"/>
            </p:custDataLst>
          </p:nvPr>
        </p:nvSpPr>
        <p:spPr bwMode="gray">
          <a:xfrm>
            <a:off x="787401" y="4297363"/>
            <a:ext cx="307975" cy="192088"/>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BBB80E14-17E0-480A-8035-FAAC14016B66}" type="datetime'2''''5''''''''''''''''''''''''''''''''''%'''''''''''''''">
              <a:rPr lang="en-US" altLang="en-US" sz="1400" smtClean="0">
                <a:solidFill>
                  <a:schemeClr val="tx1"/>
                </a:solidFill>
                <a:latin typeface="Titillium Web"/>
                <a:sym typeface="Titillium Web"/>
              </a:rPr>
              <a:pPr algn="r">
                <a:lnSpc>
                  <a:spcPct val="90000"/>
                </a:lnSpc>
                <a:spcBef>
                  <a:spcPct val="0"/>
                </a:spcBef>
                <a:spcAft>
                  <a:spcPct val="0"/>
                </a:spcAft>
              </a:pPr>
              <a:t>25%</a:t>
            </a:fld>
            <a:endParaRPr lang="en-US" sz="1400">
              <a:solidFill>
                <a:schemeClr val="tx1"/>
              </a:solidFill>
              <a:latin typeface="Titillium Web"/>
              <a:sym typeface="Titillium Web"/>
            </a:endParaRPr>
          </a:p>
        </p:txBody>
      </p:sp>
      <p:sp>
        <p:nvSpPr>
          <p:cNvPr id="934" name="Rectangle 933">
            <a:extLst>
              <a:ext uri="{FF2B5EF4-FFF2-40B4-BE49-F238E27FC236}">
                <a16:creationId xmlns:a16="http://schemas.microsoft.com/office/drawing/2014/main" id="{6B4E66A1-759A-4499-A59D-09AC000DCFF2}"/>
              </a:ext>
            </a:extLst>
          </p:cNvPr>
          <p:cNvSpPr/>
          <p:nvPr>
            <p:custDataLst>
              <p:tags r:id="rId18"/>
            </p:custDataLst>
          </p:nvPr>
        </p:nvSpPr>
        <p:spPr bwMode="gray">
          <a:xfrm>
            <a:off x="787401" y="4035425"/>
            <a:ext cx="307975" cy="192088"/>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F08C404E-A32F-48D0-B9D1-C9DD6C95C9E0}" type="datetime'''''''''''3''''0''''''''''''%'''''''''''''''''''''''''''''''''">
              <a:rPr lang="en-US" altLang="en-US" sz="1400" smtClean="0">
                <a:solidFill>
                  <a:schemeClr val="tx1"/>
                </a:solidFill>
                <a:latin typeface="Titillium Web"/>
                <a:sym typeface="Titillium Web"/>
              </a:rPr>
              <a:pPr algn="r">
                <a:lnSpc>
                  <a:spcPct val="90000"/>
                </a:lnSpc>
                <a:spcBef>
                  <a:spcPct val="0"/>
                </a:spcBef>
                <a:spcAft>
                  <a:spcPct val="0"/>
                </a:spcAft>
              </a:pPr>
              <a:t>30%</a:t>
            </a:fld>
            <a:endParaRPr lang="en-US" sz="1400">
              <a:solidFill>
                <a:schemeClr val="tx1"/>
              </a:solidFill>
              <a:latin typeface="Titillium Web"/>
              <a:sym typeface="Titillium Web"/>
            </a:endParaRPr>
          </a:p>
        </p:txBody>
      </p:sp>
      <p:sp>
        <p:nvSpPr>
          <p:cNvPr id="935" name="Rectangle 934">
            <a:extLst>
              <a:ext uri="{FF2B5EF4-FFF2-40B4-BE49-F238E27FC236}">
                <a16:creationId xmlns:a16="http://schemas.microsoft.com/office/drawing/2014/main" id="{F5EFCAE2-212D-4DFB-9B9F-3C5872C7066B}"/>
              </a:ext>
            </a:extLst>
          </p:cNvPr>
          <p:cNvSpPr/>
          <p:nvPr>
            <p:custDataLst>
              <p:tags r:id="rId19"/>
            </p:custDataLst>
          </p:nvPr>
        </p:nvSpPr>
        <p:spPr bwMode="gray">
          <a:xfrm>
            <a:off x="787401" y="3775075"/>
            <a:ext cx="307975" cy="192088"/>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AD425D55-75D0-4306-9AEB-2A21709670DE}" type="datetime'''''''''3''''''''''''''''5''''''''''''%'">
              <a:rPr lang="en-US" altLang="en-US" sz="1400" smtClean="0">
                <a:solidFill>
                  <a:schemeClr val="tx1"/>
                </a:solidFill>
                <a:latin typeface="Titillium Web"/>
                <a:sym typeface="Titillium Web"/>
              </a:rPr>
              <a:pPr algn="r">
                <a:lnSpc>
                  <a:spcPct val="90000"/>
                </a:lnSpc>
                <a:spcBef>
                  <a:spcPct val="0"/>
                </a:spcBef>
                <a:spcAft>
                  <a:spcPct val="0"/>
                </a:spcAft>
              </a:pPr>
              <a:t>35%</a:t>
            </a:fld>
            <a:endParaRPr lang="en-US" sz="1400">
              <a:solidFill>
                <a:schemeClr val="tx1"/>
              </a:solidFill>
              <a:latin typeface="Titillium Web"/>
              <a:sym typeface="Titillium Web"/>
            </a:endParaRPr>
          </a:p>
        </p:txBody>
      </p:sp>
      <p:sp>
        <p:nvSpPr>
          <p:cNvPr id="936" name="Rectangle 935">
            <a:extLst>
              <a:ext uri="{FF2B5EF4-FFF2-40B4-BE49-F238E27FC236}">
                <a16:creationId xmlns:a16="http://schemas.microsoft.com/office/drawing/2014/main" id="{957F6BC9-01A0-4391-8EAD-5248A6AA08B2}"/>
              </a:ext>
            </a:extLst>
          </p:cNvPr>
          <p:cNvSpPr/>
          <p:nvPr>
            <p:custDataLst>
              <p:tags r:id="rId20"/>
            </p:custDataLst>
          </p:nvPr>
        </p:nvSpPr>
        <p:spPr bwMode="gray">
          <a:xfrm>
            <a:off x="787401" y="3514725"/>
            <a:ext cx="307975" cy="192088"/>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D5FEA52C-42FE-49A4-9F27-7329D53817DA}" type="datetime'''''''''''''''40''%'">
              <a:rPr lang="en-US" altLang="en-US" sz="1400" smtClean="0">
                <a:solidFill>
                  <a:schemeClr val="tx1"/>
                </a:solidFill>
                <a:latin typeface="Titillium Web"/>
                <a:sym typeface="Titillium Web"/>
              </a:rPr>
              <a:pPr algn="r">
                <a:lnSpc>
                  <a:spcPct val="90000"/>
                </a:lnSpc>
                <a:spcBef>
                  <a:spcPct val="0"/>
                </a:spcBef>
                <a:spcAft>
                  <a:spcPct val="0"/>
                </a:spcAft>
              </a:pPr>
              <a:t>40%</a:t>
            </a:fld>
            <a:endParaRPr lang="en-US" sz="1400">
              <a:solidFill>
                <a:schemeClr val="tx1"/>
              </a:solidFill>
              <a:latin typeface="Titillium Web"/>
              <a:sym typeface="Titillium Web"/>
            </a:endParaRPr>
          </a:p>
        </p:txBody>
      </p:sp>
      <p:sp>
        <p:nvSpPr>
          <p:cNvPr id="937" name="Rectangle 936">
            <a:extLst>
              <a:ext uri="{FF2B5EF4-FFF2-40B4-BE49-F238E27FC236}">
                <a16:creationId xmlns:a16="http://schemas.microsoft.com/office/drawing/2014/main" id="{66267D31-5C0A-4E86-8B8B-A6D1749228EC}"/>
              </a:ext>
            </a:extLst>
          </p:cNvPr>
          <p:cNvSpPr/>
          <p:nvPr>
            <p:custDataLst>
              <p:tags r:id="rId21"/>
            </p:custDataLst>
          </p:nvPr>
        </p:nvSpPr>
        <p:spPr bwMode="gray">
          <a:xfrm>
            <a:off x="787401" y="3252788"/>
            <a:ext cx="307975" cy="192088"/>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26B7A5BE-C2C0-4477-AF65-E69F16CE88F2}" type="datetime'''''''''''''''''''''''''''''''''''''''''4''''5%'''''''">
              <a:rPr lang="en-US" altLang="en-US" sz="1400" smtClean="0">
                <a:solidFill>
                  <a:schemeClr val="tx1"/>
                </a:solidFill>
                <a:latin typeface="Titillium Web"/>
                <a:sym typeface="Titillium Web"/>
              </a:rPr>
              <a:pPr algn="r">
                <a:lnSpc>
                  <a:spcPct val="90000"/>
                </a:lnSpc>
                <a:spcBef>
                  <a:spcPct val="0"/>
                </a:spcBef>
                <a:spcAft>
                  <a:spcPct val="0"/>
                </a:spcAft>
              </a:pPr>
              <a:t>45%</a:t>
            </a:fld>
            <a:endParaRPr lang="en-US" sz="1400">
              <a:solidFill>
                <a:schemeClr val="tx1"/>
              </a:solidFill>
              <a:latin typeface="Titillium Web"/>
              <a:sym typeface="Titillium Web"/>
            </a:endParaRPr>
          </a:p>
        </p:txBody>
      </p:sp>
      <p:sp>
        <p:nvSpPr>
          <p:cNvPr id="938" name="Rectangle 937">
            <a:extLst>
              <a:ext uri="{FF2B5EF4-FFF2-40B4-BE49-F238E27FC236}">
                <a16:creationId xmlns:a16="http://schemas.microsoft.com/office/drawing/2014/main" id="{4B963944-CB6C-463E-8274-4D52597F04C9}"/>
              </a:ext>
            </a:extLst>
          </p:cNvPr>
          <p:cNvSpPr/>
          <p:nvPr>
            <p:custDataLst>
              <p:tags r:id="rId22"/>
            </p:custDataLst>
          </p:nvPr>
        </p:nvSpPr>
        <p:spPr bwMode="gray">
          <a:xfrm>
            <a:off x="787401" y="2992438"/>
            <a:ext cx="307975" cy="192088"/>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5C850C9B-8F9F-419E-8783-AE4743AD2E60}" type="datetime'5''''''''''''''''0''''''''''%'">
              <a:rPr lang="en-US" altLang="en-US" sz="1400" smtClean="0">
                <a:solidFill>
                  <a:schemeClr val="tx1"/>
                </a:solidFill>
                <a:latin typeface="Titillium Web"/>
                <a:sym typeface="Titillium Web"/>
              </a:rPr>
              <a:pPr algn="r">
                <a:lnSpc>
                  <a:spcPct val="90000"/>
                </a:lnSpc>
                <a:spcBef>
                  <a:spcPct val="0"/>
                </a:spcBef>
                <a:spcAft>
                  <a:spcPct val="0"/>
                </a:spcAft>
              </a:pPr>
              <a:t>50%</a:t>
            </a:fld>
            <a:endParaRPr lang="en-US" sz="1400">
              <a:solidFill>
                <a:schemeClr val="tx1"/>
              </a:solidFill>
              <a:latin typeface="Titillium Web"/>
              <a:sym typeface="Titillium Web"/>
            </a:endParaRPr>
          </a:p>
        </p:txBody>
      </p:sp>
      <p:sp>
        <p:nvSpPr>
          <p:cNvPr id="939" name="Rectangle 938">
            <a:extLst>
              <a:ext uri="{FF2B5EF4-FFF2-40B4-BE49-F238E27FC236}">
                <a16:creationId xmlns:a16="http://schemas.microsoft.com/office/drawing/2014/main" id="{4A48DB5B-C5DE-4EB4-A941-76D417A94B8F}"/>
              </a:ext>
            </a:extLst>
          </p:cNvPr>
          <p:cNvSpPr/>
          <p:nvPr>
            <p:custDataLst>
              <p:tags r:id="rId23"/>
            </p:custDataLst>
          </p:nvPr>
        </p:nvSpPr>
        <p:spPr bwMode="gray">
          <a:xfrm>
            <a:off x="787401" y="2730500"/>
            <a:ext cx="307975" cy="192088"/>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69FB0714-DBE3-4CE3-A0E1-4BDB6B8D7AEC}" type="datetime'''''''5''''''''''''''''''''''''''''5''%'''''''">
              <a:rPr lang="en-US" altLang="en-US" sz="1400" smtClean="0">
                <a:solidFill>
                  <a:schemeClr val="tx1"/>
                </a:solidFill>
                <a:latin typeface="Titillium Web"/>
                <a:sym typeface="Titillium Web"/>
              </a:rPr>
              <a:pPr algn="r">
                <a:lnSpc>
                  <a:spcPct val="90000"/>
                </a:lnSpc>
                <a:spcBef>
                  <a:spcPct val="0"/>
                </a:spcBef>
                <a:spcAft>
                  <a:spcPct val="0"/>
                </a:spcAft>
              </a:pPr>
              <a:t>55%</a:t>
            </a:fld>
            <a:endParaRPr lang="en-US" sz="1400">
              <a:solidFill>
                <a:schemeClr val="tx1"/>
              </a:solidFill>
              <a:latin typeface="Titillium Web"/>
              <a:sym typeface="Titillium Web"/>
            </a:endParaRPr>
          </a:p>
        </p:txBody>
      </p:sp>
      <p:sp>
        <p:nvSpPr>
          <p:cNvPr id="940" name="Rectangle 939">
            <a:extLst>
              <a:ext uri="{FF2B5EF4-FFF2-40B4-BE49-F238E27FC236}">
                <a16:creationId xmlns:a16="http://schemas.microsoft.com/office/drawing/2014/main" id="{66F916F5-041B-4476-8DAE-F01515690AEB}"/>
              </a:ext>
            </a:extLst>
          </p:cNvPr>
          <p:cNvSpPr/>
          <p:nvPr>
            <p:custDataLst>
              <p:tags r:id="rId24"/>
            </p:custDataLst>
          </p:nvPr>
        </p:nvSpPr>
        <p:spPr bwMode="gray">
          <a:xfrm>
            <a:off x="787401" y="2470150"/>
            <a:ext cx="307975" cy="192088"/>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2C6F9555-2EAA-4E4B-9B04-EBC80EF5181C}" type="datetime'''''''6''''''''''''''''''''''''''''''''0''''''''''%'''">
              <a:rPr lang="en-US" altLang="en-US" sz="1400" smtClean="0">
                <a:solidFill>
                  <a:schemeClr val="tx1"/>
                </a:solidFill>
                <a:latin typeface="Titillium Web"/>
                <a:sym typeface="Titillium Web"/>
              </a:rPr>
              <a:pPr algn="r">
                <a:lnSpc>
                  <a:spcPct val="90000"/>
                </a:lnSpc>
                <a:spcBef>
                  <a:spcPct val="0"/>
                </a:spcBef>
                <a:spcAft>
                  <a:spcPct val="0"/>
                </a:spcAft>
              </a:pPr>
              <a:t>60%</a:t>
            </a:fld>
            <a:endParaRPr lang="en-US" sz="1400">
              <a:solidFill>
                <a:schemeClr val="tx1"/>
              </a:solidFill>
              <a:latin typeface="Titillium Web"/>
              <a:sym typeface="Titillium Web"/>
            </a:endParaRPr>
          </a:p>
        </p:txBody>
      </p:sp>
      <p:sp>
        <p:nvSpPr>
          <p:cNvPr id="941" name="Rectangle 940">
            <a:extLst>
              <a:ext uri="{FF2B5EF4-FFF2-40B4-BE49-F238E27FC236}">
                <a16:creationId xmlns:a16="http://schemas.microsoft.com/office/drawing/2014/main" id="{E98C1F52-08D1-4795-AE9E-718E263C390F}"/>
              </a:ext>
            </a:extLst>
          </p:cNvPr>
          <p:cNvSpPr/>
          <p:nvPr>
            <p:custDataLst>
              <p:tags r:id="rId25"/>
            </p:custDataLst>
          </p:nvPr>
        </p:nvSpPr>
        <p:spPr bwMode="gray">
          <a:xfrm>
            <a:off x="787401" y="2209800"/>
            <a:ext cx="307975" cy="192088"/>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lnSpc>
                <a:spcPct val="90000"/>
              </a:lnSpc>
              <a:spcBef>
                <a:spcPct val="0"/>
              </a:spcBef>
              <a:spcAft>
                <a:spcPct val="0"/>
              </a:spcAft>
            </a:pPr>
            <a:fld id="{4746BDA6-8367-4472-8076-064C9091626B}" type="datetime'''''''''''''6''''''''5''''''''''''%'''''''''''''''''">
              <a:rPr lang="en-US" altLang="en-US" sz="1400" smtClean="0">
                <a:solidFill>
                  <a:schemeClr val="tx1"/>
                </a:solidFill>
                <a:latin typeface="Titillium Web"/>
                <a:sym typeface="Titillium Web"/>
              </a:rPr>
              <a:pPr algn="r">
                <a:lnSpc>
                  <a:spcPct val="90000"/>
                </a:lnSpc>
                <a:spcBef>
                  <a:spcPct val="0"/>
                </a:spcBef>
                <a:spcAft>
                  <a:spcPct val="0"/>
                </a:spcAft>
              </a:pPr>
              <a:t>65%</a:t>
            </a:fld>
            <a:endParaRPr lang="en-US" sz="1400">
              <a:solidFill>
                <a:schemeClr val="tx1"/>
              </a:solidFill>
              <a:latin typeface="Titillium Web"/>
              <a:sym typeface="Titillium Web"/>
            </a:endParaRPr>
          </a:p>
        </p:txBody>
      </p:sp>
      <p:sp>
        <p:nvSpPr>
          <p:cNvPr id="2" name="Title 1"/>
          <p:cNvSpPr>
            <a:spLocks noGrp="1"/>
          </p:cNvSpPr>
          <p:nvPr>
            <p:ph type="title"/>
          </p:nvPr>
        </p:nvSpPr>
        <p:spPr/>
        <p:txBody>
          <a:bodyPr vert="horz">
            <a:noAutofit/>
          </a:bodyPr>
          <a:lstStyle/>
          <a:p>
            <a:r>
              <a:rPr lang="en-US"/>
              <a:t>Our Journey in the Coding Challenge</a:t>
            </a:r>
          </a:p>
        </p:txBody>
      </p:sp>
      <p:sp>
        <p:nvSpPr>
          <p:cNvPr id="4" name="Slide Number Placeholder 3">
            <a:extLst>
              <a:ext uri="{FF2B5EF4-FFF2-40B4-BE49-F238E27FC236}">
                <a16:creationId xmlns:a16="http://schemas.microsoft.com/office/drawing/2014/main" id="{B1831791-37DA-C749-8646-93BA991B91D0}"/>
              </a:ext>
            </a:extLst>
          </p:cNvPr>
          <p:cNvSpPr>
            <a:spLocks noGrp="1"/>
          </p:cNvSpPr>
          <p:nvPr>
            <p:ph type="sldNum" sz="quarter" idx="4"/>
          </p:nvPr>
        </p:nvSpPr>
        <p:spPr/>
        <p:txBody>
          <a:bodyPr/>
          <a:lstStyle/>
          <a:p>
            <a:fld id="{1FF5481D-800C-4F34-B3D6-C18BC0A4FD2D}" type="slidenum">
              <a:rPr lang="de-CH" smtClean="0"/>
              <a:pPr/>
              <a:t>3</a:t>
            </a:fld>
            <a:endParaRPr lang="de-CH"/>
          </a:p>
        </p:txBody>
      </p:sp>
      <p:sp>
        <p:nvSpPr>
          <p:cNvPr id="332" name="Rectangle 331">
            <a:extLst>
              <a:ext uri="{FF2B5EF4-FFF2-40B4-BE49-F238E27FC236}">
                <a16:creationId xmlns:a16="http://schemas.microsoft.com/office/drawing/2014/main" id="{9CCF18EF-59E2-4A79-9FE1-B913BFA9F2C0}"/>
              </a:ext>
            </a:extLst>
          </p:cNvPr>
          <p:cNvSpPr/>
          <p:nvPr/>
        </p:nvSpPr>
        <p:spPr>
          <a:xfrm>
            <a:off x="6661581" y="1928802"/>
            <a:ext cx="1450543" cy="263525"/>
          </a:xfrm>
          <a:prstGeom prst="rect">
            <a:avLst/>
          </a:prstGeom>
          <a:solidFill>
            <a:schemeClr val="accent4"/>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a:latin typeface="Titillium Web"/>
              </a:rPr>
              <a:t>Simplified</a:t>
            </a:r>
            <a:endParaRPr lang="en-US" sz="1400">
              <a:latin typeface="Titillium Web"/>
            </a:endParaRPr>
          </a:p>
        </p:txBody>
      </p:sp>
      <p:cxnSp>
        <p:nvCxnSpPr>
          <p:cNvPr id="367" name="Straight Connector 366">
            <a:extLst>
              <a:ext uri="{FF2B5EF4-FFF2-40B4-BE49-F238E27FC236}">
                <a16:creationId xmlns:a16="http://schemas.microsoft.com/office/drawing/2014/main" id="{00175D1E-27D5-4269-B289-C7911C77BA5A}"/>
              </a:ext>
            </a:extLst>
          </p:cNvPr>
          <p:cNvCxnSpPr/>
          <p:nvPr>
            <p:custDataLst>
              <p:tags r:id="rId26"/>
            </p:custDataLst>
          </p:nvPr>
        </p:nvCxnSpPr>
        <p:spPr bwMode="gray">
          <a:xfrm>
            <a:off x="3551238" y="6046788"/>
            <a:ext cx="231775" cy="0"/>
          </a:xfrm>
          <a:prstGeom prst="line">
            <a:avLst/>
          </a:prstGeom>
          <a:ln w="19050" cap="rnd" cmpd="sng" algn="ctr">
            <a:solidFill>
              <a:srgbClr val="EA423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68" name="Rectangle 367">
            <a:extLst>
              <a:ext uri="{FF2B5EF4-FFF2-40B4-BE49-F238E27FC236}">
                <a16:creationId xmlns:a16="http://schemas.microsoft.com/office/drawing/2014/main" id="{D971265D-785B-4F99-BD5B-E9681BECB661}"/>
              </a:ext>
            </a:extLst>
          </p:cNvPr>
          <p:cNvSpPr/>
          <p:nvPr>
            <p:custDataLst>
              <p:tags r:id="rId27"/>
            </p:custDataLst>
          </p:nvPr>
        </p:nvSpPr>
        <p:spPr bwMode="auto">
          <a:xfrm>
            <a:off x="3843338" y="5948363"/>
            <a:ext cx="592138" cy="212725"/>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C5FE7F8-B658-45A2-A665-CD5133E7399E}" type="datetime'''''''''''''''''Re''''s''N''ex''''''''''''''t'">
              <a:rPr lang="en-US" altLang="en-US" sz="1400" smtClean="0">
                <a:solidFill>
                  <a:schemeClr val="tx1"/>
                </a:solidFill>
                <a:latin typeface="Titillium Web"/>
                <a:sym typeface="Titillium Web"/>
              </a:rPr>
              <a:pPr>
                <a:spcBef>
                  <a:spcPct val="0"/>
                </a:spcBef>
                <a:spcAft>
                  <a:spcPct val="0"/>
                </a:spcAft>
              </a:pPr>
              <a:t>ResNext</a:t>
            </a:fld>
            <a:endParaRPr lang="en-US" sz="1400">
              <a:solidFill>
                <a:schemeClr val="tx1"/>
              </a:solidFill>
              <a:latin typeface="Titillium Web"/>
              <a:sym typeface="Titillium Web"/>
            </a:endParaRPr>
          </a:p>
        </p:txBody>
      </p:sp>
      <p:cxnSp>
        <p:nvCxnSpPr>
          <p:cNvPr id="542" name="Straight Connector 541">
            <a:extLst>
              <a:ext uri="{FF2B5EF4-FFF2-40B4-BE49-F238E27FC236}">
                <a16:creationId xmlns:a16="http://schemas.microsoft.com/office/drawing/2014/main" id="{7064DB19-3B1A-4DA0-90CC-964BB35C25AD}"/>
              </a:ext>
            </a:extLst>
          </p:cNvPr>
          <p:cNvCxnSpPr/>
          <p:nvPr>
            <p:custDataLst>
              <p:tags r:id="rId28"/>
            </p:custDataLst>
          </p:nvPr>
        </p:nvCxnSpPr>
        <p:spPr bwMode="gray">
          <a:xfrm>
            <a:off x="5816600" y="6046788"/>
            <a:ext cx="231775" cy="0"/>
          </a:xfrm>
          <a:prstGeom prst="line">
            <a:avLst/>
          </a:prstGeom>
          <a:ln w="19050" cap="rnd" cmpd="sng" algn="ctr">
            <a:solidFill>
              <a:srgbClr val="4C6C9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3" name="Rectangle 542">
            <a:extLst>
              <a:ext uri="{FF2B5EF4-FFF2-40B4-BE49-F238E27FC236}">
                <a16:creationId xmlns:a16="http://schemas.microsoft.com/office/drawing/2014/main" id="{A696DDEA-579A-44E8-BFC1-7BA3B524CB74}"/>
              </a:ext>
            </a:extLst>
          </p:cNvPr>
          <p:cNvSpPr/>
          <p:nvPr>
            <p:custDataLst>
              <p:tags r:id="rId29"/>
            </p:custDataLst>
          </p:nvPr>
        </p:nvSpPr>
        <p:spPr bwMode="auto">
          <a:xfrm>
            <a:off x="6108700" y="5948363"/>
            <a:ext cx="438150" cy="212725"/>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F999DD9-92FC-4734-AD66-FF28F881F005}" type="datetime'''''''''''''''''''''''''''D''''''''A''''''N''''''''''N'''">
              <a:rPr lang="en-US" altLang="en-US" sz="1400" smtClean="0">
                <a:solidFill>
                  <a:schemeClr val="tx1"/>
                </a:solidFill>
                <a:latin typeface="Titillium Web"/>
                <a:sym typeface="Titillium Web"/>
              </a:rPr>
              <a:pPr>
                <a:spcBef>
                  <a:spcPct val="0"/>
                </a:spcBef>
                <a:spcAft>
                  <a:spcPct val="0"/>
                </a:spcAft>
              </a:pPr>
              <a:t>DANN</a:t>
            </a:fld>
            <a:endParaRPr lang="en-US" sz="1400">
              <a:solidFill>
                <a:schemeClr val="tx1"/>
              </a:solidFill>
              <a:latin typeface="Titillium Web"/>
              <a:sym typeface="Titillium Web"/>
            </a:endParaRPr>
          </a:p>
        </p:txBody>
      </p:sp>
      <p:cxnSp>
        <p:nvCxnSpPr>
          <p:cNvPr id="551" name="Straight Connector 550">
            <a:extLst>
              <a:ext uri="{FF2B5EF4-FFF2-40B4-BE49-F238E27FC236}">
                <a16:creationId xmlns:a16="http://schemas.microsoft.com/office/drawing/2014/main" id="{44DCD868-C394-45FC-AE9B-52BF9AA4929A}"/>
              </a:ext>
            </a:extLst>
          </p:cNvPr>
          <p:cNvCxnSpPr/>
          <p:nvPr>
            <p:custDataLst>
              <p:tags r:id="rId30"/>
            </p:custDataLst>
          </p:nvPr>
        </p:nvCxnSpPr>
        <p:spPr bwMode="gray">
          <a:xfrm>
            <a:off x="4891088" y="6046788"/>
            <a:ext cx="231775" cy="0"/>
          </a:xfrm>
          <a:prstGeom prst="line">
            <a:avLst/>
          </a:prstGeom>
          <a:ln w="19050"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3" name="Rectangle 552">
            <a:extLst>
              <a:ext uri="{FF2B5EF4-FFF2-40B4-BE49-F238E27FC236}">
                <a16:creationId xmlns:a16="http://schemas.microsoft.com/office/drawing/2014/main" id="{E37D9387-D626-43D1-8106-0BC793E0966E}"/>
              </a:ext>
            </a:extLst>
          </p:cNvPr>
          <p:cNvSpPr/>
          <p:nvPr>
            <p:custDataLst>
              <p:tags r:id="rId31"/>
            </p:custDataLst>
          </p:nvPr>
        </p:nvSpPr>
        <p:spPr bwMode="auto">
          <a:xfrm>
            <a:off x="5183188" y="5948363"/>
            <a:ext cx="230188" cy="212725"/>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0F9E45FC-8C6B-4025-B3D5-91A2EF382E7D}" type="datetime'V''''''''''''''''''''''''''''i''''''''''''''''''''''T'''">
              <a:rPr lang="en-US" altLang="en-US" sz="1400" smtClean="0">
                <a:solidFill>
                  <a:schemeClr val="tx1"/>
                </a:solidFill>
                <a:latin typeface="Titillium Web"/>
                <a:sym typeface="Titillium Web"/>
              </a:rPr>
              <a:pPr>
                <a:spcBef>
                  <a:spcPct val="0"/>
                </a:spcBef>
                <a:spcAft>
                  <a:spcPct val="0"/>
                </a:spcAft>
              </a:pPr>
              <a:t>ViT</a:t>
            </a:fld>
            <a:endParaRPr lang="en-US" sz="1400">
              <a:solidFill>
                <a:schemeClr val="tx1"/>
              </a:solidFill>
              <a:latin typeface="Titillium Web"/>
              <a:sym typeface="Titillium Web"/>
            </a:endParaRPr>
          </a:p>
        </p:txBody>
      </p:sp>
      <p:sp>
        <p:nvSpPr>
          <p:cNvPr id="5" name="Footer Placeholder 4">
            <a:extLst>
              <a:ext uri="{FF2B5EF4-FFF2-40B4-BE49-F238E27FC236}">
                <a16:creationId xmlns:a16="http://schemas.microsoft.com/office/drawing/2014/main" id="{8CB8985B-6C95-BC44-8784-8F90D34EA5F6}"/>
              </a:ext>
            </a:extLst>
          </p:cNvPr>
          <p:cNvSpPr>
            <a:spLocks noGrp="1"/>
          </p:cNvSpPr>
          <p:nvPr>
            <p:ph type="ftr" sz="quarter" idx="3"/>
          </p:nvPr>
        </p:nvSpPr>
        <p:spPr/>
        <p:txBody>
          <a:bodyPr/>
          <a:lstStyle/>
          <a:p>
            <a:r>
              <a:rPr lang="en-US" noProof="0"/>
              <a:t>Prof. Damian </a:t>
            </a:r>
            <a:r>
              <a:rPr lang="en-US" noProof="0" err="1"/>
              <a:t>Borth</a:t>
            </a:r>
            <a:r>
              <a:rPr lang="en-US" noProof="0"/>
              <a:t> - Artificial Intelligence &amp; Machine Learning [AIML]</a:t>
            </a:r>
          </a:p>
        </p:txBody>
      </p:sp>
      <p:cxnSp>
        <p:nvCxnSpPr>
          <p:cNvPr id="720" name="Straight Connector 719">
            <a:extLst>
              <a:ext uri="{FF2B5EF4-FFF2-40B4-BE49-F238E27FC236}">
                <a16:creationId xmlns:a16="http://schemas.microsoft.com/office/drawing/2014/main" id="{FDACEEFE-4494-4E2F-9BE0-C7B56B2BD7B6}"/>
              </a:ext>
            </a:extLst>
          </p:cNvPr>
          <p:cNvCxnSpPr/>
          <p:nvPr>
            <p:custDataLst>
              <p:tags r:id="rId32"/>
            </p:custDataLst>
          </p:nvPr>
        </p:nvCxnSpPr>
        <p:spPr bwMode="gray">
          <a:xfrm>
            <a:off x="2332038" y="6046788"/>
            <a:ext cx="231775" cy="0"/>
          </a:xfrm>
          <a:prstGeom prst="line">
            <a:avLst/>
          </a:prstGeom>
          <a:ln w="19050" cap="rnd" cmpd="sng" algn="ctr">
            <a:solidFill>
              <a:srgbClr val="C30C3E"/>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21" name="Rectangle 720">
            <a:extLst>
              <a:ext uri="{FF2B5EF4-FFF2-40B4-BE49-F238E27FC236}">
                <a16:creationId xmlns:a16="http://schemas.microsoft.com/office/drawing/2014/main" id="{B71E3C13-A22A-4B83-8C3B-DE2D7C9F4723}"/>
              </a:ext>
            </a:extLst>
          </p:cNvPr>
          <p:cNvSpPr/>
          <p:nvPr>
            <p:custDataLst>
              <p:tags r:id="rId33"/>
            </p:custDataLst>
          </p:nvPr>
        </p:nvSpPr>
        <p:spPr bwMode="auto">
          <a:xfrm>
            <a:off x="2624138" y="5948363"/>
            <a:ext cx="514350" cy="212725"/>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8492EF88-2064-4BCD-A9D9-7A01AFDEC2F6}" type="datetime'''''''''''''''R''''esN''''e''t'''''''''''''''''''">
              <a:rPr lang="en-US" altLang="en-US" sz="1400" smtClean="0">
                <a:solidFill>
                  <a:schemeClr val="tx1"/>
                </a:solidFill>
                <a:latin typeface="Titillium Web"/>
                <a:sym typeface="Titillium Web"/>
              </a:rPr>
              <a:pPr>
                <a:spcBef>
                  <a:spcPct val="0"/>
                </a:spcBef>
                <a:spcAft>
                  <a:spcPct val="0"/>
                </a:spcAft>
              </a:pPr>
              <a:t>ResNet</a:t>
            </a:fld>
            <a:endParaRPr lang="en-US" sz="1400">
              <a:solidFill>
                <a:schemeClr val="tx1"/>
              </a:solidFill>
              <a:latin typeface="Titillium Web"/>
              <a:sym typeface="Titillium Web"/>
            </a:endParaRPr>
          </a:p>
        </p:txBody>
      </p:sp>
      <p:graphicFrame>
        <p:nvGraphicFramePr>
          <p:cNvPr id="207" name="Chart 206">
            <a:extLst>
              <a:ext uri="{FF2B5EF4-FFF2-40B4-BE49-F238E27FC236}">
                <a16:creationId xmlns:a16="http://schemas.microsoft.com/office/drawing/2014/main" id="{63BCD7C5-3249-48B7-A29D-E47E3D272611}"/>
              </a:ext>
            </a:extLst>
          </p:cNvPr>
          <p:cNvGraphicFramePr/>
          <p:nvPr>
            <p:custDataLst>
              <p:tags r:id="rId34"/>
            </p:custDataLst>
            <p:extLst>
              <p:ext uri="{D42A27DB-BD31-4B8C-83A1-F6EECF244321}">
                <p14:modId xmlns:p14="http://schemas.microsoft.com/office/powerpoint/2010/main" val="2054072632"/>
              </p:ext>
            </p:extLst>
          </p:nvPr>
        </p:nvGraphicFramePr>
        <p:xfrm>
          <a:off x="1198563" y="2217738"/>
          <a:ext cx="6840537" cy="3022600"/>
        </p:xfrm>
        <a:graphic>
          <a:graphicData uri="http://schemas.openxmlformats.org/drawingml/2006/chart">
            <c:chart xmlns:c="http://schemas.openxmlformats.org/drawingml/2006/chart" xmlns:r="http://schemas.openxmlformats.org/officeDocument/2006/relationships" r:id="rId43"/>
          </a:graphicData>
        </a:graphic>
      </p:graphicFrame>
      <p:graphicFrame>
        <p:nvGraphicFramePr>
          <p:cNvPr id="208" name="Chart 207">
            <a:extLst>
              <a:ext uri="{FF2B5EF4-FFF2-40B4-BE49-F238E27FC236}">
                <a16:creationId xmlns:a16="http://schemas.microsoft.com/office/drawing/2014/main" id="{60CDE144-2A99-4EA3-AE6A-934A84209555}"/>
              </a:ext>
            </a:extLst>
          </p:cNvPr>
          <p:cNvGraphicFramePr/>
          <p:nvPr>
            <p:custDataLst>
              <p:tags r:id="rId35"/>
            </p:custDataLst>
            <p:extLst>
              <p:ext uri="{D42A27DB-BD31-4B8C-83A1-F6EECF244321}">
                <p14:modId xmlns:p14="http://schemas.microsoft.com/office/powerpoint/2010/main" val="3873001093"/>
              </p:ext>
            </p:extLst>
          </p:nvPr>
        </p:nvGraphicFramePr>
        <p:xfrm>
          <a:off x="1189038" y="2217738"/>
          <a:ext cx="6826250" cy="3022600"/>
        </p:xfrm>
        <a:graphic>
          <a:graphicData uri="http://schemas.openxmlformats.org/drawingml/2006/chart">
            <c:chart xmlns:c="http://schemas.openxmlformats.org/drawingml/2006/chart" xmlns:r="http://schemas.openxmlformats.org/officeDocument/2006/relationships" r:id="rId44"/>
          </a:graphicData>
        </a:graphic>
      </p:graphicFrame>
      <p:graphicFrame>
        <p:nvGraphicFramePr>
          <p:cNvPr id="209" name="Chart 208">
            <a:extLst>
              <a:ext uri="{FF2B5EF4-FFF2-40B4-BE49-F238E27FC236}">
                <a16:creationId xmlns:a16="http://schemas.microsoft.com/office/drawing/2014/main" id="{E16862D8-D780-466B-A9DF-5AAD5F347458}"/>
              </a:ext>
            </a:extLst>
          </p:cNvPr>
          <p:cNvGraphicFramePr/>
          <p:nvPr>
            <p:custDataLst>
              <p:tags r:id="rId36"/>
            </p:custDataLst>
            <p:extLst>
              <p:ext uri="{D42A27DB-BD31-4B8C-83A1-F6EECF244321}">
                <p14:modId xmlns:p14="http://schemas.microsoft.com/office/powerpoint/2010/main" val="3232312710"/>
              </p:ext>
            </p:extLst>
          </p:nvPr>
        </p:nvGraphicFramePr>
        <p:xfrm>
          <a:off x="1198563" y="2217738"/>
          <a:ext cx="6826250" cy="3022600"/>
        </p:xfrm>
        <a:graphic>
          <a:graphicData uri="http://schemas.openxmlformats.org/drawingml/2006/chart">
            <c:chart xmlns:c="http://schemas.openxmlformats.org/drawingml/2006/chart" xmlns:r="http://schemas.openxmlformats.org/officeDocument/2006/relationships" r:id="rId45"/>
          </a:graphicData>
        </a:graphic>
      </p:graphicFrame>
      <p:graphicFrame>
        <p:nvGraphicFramePr>
          <p:cNvPr id="210" name="Chart 209">
            <a:extLst>
              <a:ext uri="{FF2B5EF4-FFF2-40B4-BE49-F238E27FC236}">
                <a16:creationId xmlns:a16="http://schemas.microsoft.com/office/drawing/2014/main" id="{FB882B86-B81A-4B1F-8D78-B890EB805700}"/>
              </a:ext>
            </a:extLst>
          </p:cNvPr>
          <p:cNvGraphicFramePr/>
          <p:nvPr>
            <p:custDataLst>
              <p:tags r:id="rId37"/>
            </p:custDataLst>
            <p:extLst>
              <p:ext uri="{D42A27DB-BD31-4B8C-83A1-F6EECF244321}">
                <p14:modId xmlns:p14="http://schemas.microsoft.com/office/powerpoint/2010/main" val="761949720"/>
              </p:ext>
            </p:extLst>
          </p:nvPr>
        </p:nvGraphicFramePr>
        <p:xfrm>
          <a:off x="1189038" y="2217738"/>
          <a:ext cx="6850062" cy="3022600"/>
        </p:xfrm>
        <a:graphic>
          <a:graphicData uri="http://schemas.openxmlformats.org/drawingml/2006/chart">
            <c:chart xmlns:c="http://schemas.openxmlformats.org/drawingml/2006/chart" xmlns:r="http://schemas.openxmlformats.org/officeDocument/2006/relationships" r:id="rId46"/>
          </a:graphicData>
        </a:graphic>
      </p:graphicFrame>
      <p:cxnSp>
        <p:nvCxnSpPr>
          <p:cNvPr id="1014" name="Straight Connector 1013">
            <a:extLst>
              <a:ext uri="{FF2B5EF4-FFF2-40B4-BE49-F238E27FC236}">
                <a16:creationId xmlns:a16="http://schemas.microsoft.com/office/drawing/2014/main" id="{0C5C48A2-15E9-41A9-80D7-667B7C87ADB6}"/>
              </a:ext>
            </a:extLst>
          </p:cNvPr>
          <p:cNvCxnSpPr>
            <a:cxnSpLocks/>
          </p:cNvCxnSpPr>
          <p:nvPr/>
        </p:nvCxnSpPr>
        <p:spPr>
          <a:xfrm>
            <a:off x="8496127" y="1844824"/>
            <a:ext cx="0" cy="4536926"/>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10" name="Group 1009">
            <a:extLst>
              <a:ext uri="{FF2B5EF4-FFF2-40B4-BE49-F238E27FC236}">
                <a16:creationId xmlns:a16="http://schemas.microsoft.com/office/drawing/2014/main" id="{1EC09FBC-066A-4A07-9AA0-1F6EDD0DFA21}"/>
              </a:ext>
            </a:extLst>
          </p:cNvPr>
          <p:cNvGrpSpPr>
            <a:grpSpLocks noChangeAspect="1"/>
          </p:cNvGrpSpPr>
          <p:nvPr/>
        </p:nvGrpSpPr>
        <p:grpSpPr>
          <a:xfrm>
            <a:off x="8310447" y="3927607"/>
            <a:ext cx="371361" cy="371361"/>
            <a:chOff x="982662" y="1847850"/>
            <a:chExt cx="269875" cy="269875"/>
          </a:xfrm>
        </p:grpSpPr>
        <p:sp>
          <p:nvSpPr>
            <p:cNvPr id="1011" name="Oval 1010">
              <a:extLst>
                <a:ext uri="{FF2B5EF4-FFF2-40B4-BE49-F238E27FC236}">
                  <a16:creationId xmlns:a16="http://schemas.microsoft.com/office/drawing/2014/main" id="{4470C5C1-B2A5-4F7F-8DEC-FBBE7993ADB9}"/>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Titillium Web"/>
              </a:endParaRPr>
            </a:p>
          </p:txBody>
        </p:sp>
        <p:sp>
          <p:nvSpPr>
            <p:cNvPr id="1012" name="Freeform 51">
              <a:extLst>
                <a:ext uri="{FF2B5EF4-FFF2-40B4-BE49-F238E27FC236}">
                  <a16:creationId xmlns:a16="http://schemas.microsoft.com/office/drawing/2014/main" id="{A3181254-7DC4-42F8-9799-18764CBEE3A7}"/>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Titillium Web"/>
              </a:endParaRPr>
            </a:p>
          </p:txBody>
        </p:sp>
      </p:grpSp>
      <p:grpSp>
        <p:nvGrpSpPr>
          <p:cNvPr id="47" name="Group 46">
            <a:extLst>
              <a:ext uri="{FF2B5EF4-FFF2-40B4-BE49-F238E27FC236}">
                <a16:creationId xmlns:a16="http://schemas.microsoft.com/office/drawing/2014/main" id="{1B2AA6DF-EC7C-4FAE-A513-79C559B24BFD}"/>
              </a:ext>
            </a:extLst>
          </p:cNvPr>
          <p:cNvGrpSpPr/>
          <p:nvPr/>
        </p:nvGrpSpPr>
        <p:grpSpPr>
          <a:xfrm>
            <a:off x="8813801" y="1821861"/>
            <a:ext cx="2682874" cy="1100181"/>
            <a:chOff x="8813801" y="1821861"/>
            <a:chExt cx="2682874" cy="1100181"/>
          </a:xfrm>
        </p:grpSpPr>
        <p:sp>
          <p:nvSpPr>
            <p:cNvPr id="1018" name="Rectangle 1017">
              <a:extLst>
                <a:ext uri="{FF2B5EF4-FFF2-40B4-BE49-F238E27FC236}">
                  <a16:creationId xmlns:a16="http://schemas.microsoft.com/office/drawing/2014/main" id="{2850A1DB-0C30-4F8F-B024-66B5921F1D94}"/>
                </a:ext>
              </a:extLst>
            </p:cNvPr>
            <p:cNvSpPr/>
            <p:nvPr/>
          </p:nvSpPr>
          <p:spPr>
            <a:xfrm>
              <a:off x="8813801" y="1844824"/>
              <a:ext cx="2682874" cy="1077218"/>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spcAft>
                  <a:spcPts val="600"/>
                </a:spcAft>
              </a:pPr>
              <a:r>
                <a:rPr lang="en-US" sz="1600" b="1">
                  <a:solidFill>
                    <a:srgbClr val="00802F"/>
                  </a:solidFill>
                  <a:latin typeface="Titillium Web"/>
                </a:rPr>
                <a:t>       </a:t>
              </a:r>
              <a:r>
                <a:rPr lang="en-US" sz="1600" b="1">
                  <a:solidFill>
                    <a:srgbClr val="C30C3E"/>
                  </a:solidFill>
                  <a:latin typeface="Titillium Web"/>
                </a:rPr>
                <a:t>ResNet Milestone:</a:t>
              </a:r>
              <a:r>
                <a:rPr lang="en-US" sz="1600" b="1">
                  <a:solidFill>
                    <a:srgbClr val="00802F"/>
                  </a:solidFill>
                  <a:latin typeface="Titillium Web"/>
                </a:rPr>
                <a:t> </a:t>
              </a:r>
            </a:p>
            <a:p>
              <a:r>
                <a:rPr lang="en-US" sz="1400">
                  <a:solidFill>
                    <a:schemeClr val="tx1"/>
                  </a:solidFill>
                  <a:latin typeface="Titillium Web"/>
                </a:rPr>
                <a:t>Inclusion of data augmentation (flipping / padding) brought accuracy to 58.5%</a:t>
              </a:r>
            </a:p>
          </p:txBody>
        </p:sp>
        <p:sp>
          <p:nvSpPr>
            <p:cNvPr id="11" name="Oval 10">
              <a:extLst>
                <a:ext uri="{FF2B5EF4-FFF2-40B4-BE49-F238E27FC236}">
                  <a16:creationId xmlns:a16="http://schemas.microsoft.com/office/drawing/2014/main" id="{6B8D31A1-9860-4286-8A9E-11259CE303DA}"/>
                </a:ext>
              </a:extLst>
            </p:cNvPr>
            <p:cNvSpPr/>
            <p:nvPr/>
          </p:nvSpPr>
          <p:spPr>
            <a:xfrm>
              <a:off x="8813801" y="1821861"/>
              <a:ext cx="307323" cy="307323"/>
            </a:xfrm>
            <a:prstGeom prst="ellipse">
              <a:avLst/>
            </a:prstGeom>
            <a:solidFill>
              <a:srgbClr val="C30C3E"/>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latin typeface="Titillium Web"/>
                </a:rPr>
                <a:t>1</a:t>
              </a:r>
              <a:endParaRPr lang="en-US" b="1">
                <a:latin typeface="Titillium Web"/>
              </a:endParaRPr>
            </a:p>
          </p:txBody>
        </p:sp>
      </p:grpSp>
      <p:grpSp>
        <p:nvGrpSpPr>
          <p:cNvPr id="48" name="Group 47">
            <a:extLst>
              <a:ext uri="{FF2B5EF4-FFF2-40B4-BE49-F238E27FC236}">
                <a16:creationId xmlns:a16="http://schemas.microsoft.com/office/drawing/2014/main" id="{92AF03A0-1C67-4CCD-BA03-0F2505D4922E}"/>
              </a:ext>
            </a:extLst>
          </p:cNvPr>
          <p:cNvGrpSpPr/>
          <p:nvPr/>
        </p:nvGrpSpPr>
        <p:grpSpPr>
          <a:xfrm>
            <a:off x="8813801" y="2969383"/>
            <a:ext cx="2682874" cy="1105895"/>
            <a:chOff x="8813801" y="2969383"/>
            <a:chExt cx="2682874" cy="1105895"/>
          </a:xfrm>
        </p:grpSpPr>
        <p:sp>
          <p:nvSpPr>
            <p:cNvPr id="75" name="Rectangle 74">
              <a:extLst>
                <a:ext uri="{FF2B5EF4-FFF2-40B4-BE49-F238E27FC236}">
                  <a16:creationId xmlns:a16="http://schemas.microsoft.com/office/drawing/2014/main" id="{33E1BB83-D59F-4804-9930-87714CA6C04C}"/>
                </a:ext>
              </a:extLst>
            </p:cNvPr>
            <p:cNvSpPr/>
            <p:nvPr/>
          </p:nvSpPr>
          <p:spPr>
            <a:xfrm>
              <a:off x="8813801" y="2998060"/>
              <a:ext cx="2682874" cy="1077218"/>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spcAft>
                  <a:spcPts val="600"/>
                </a:spcAft>
              </a:pPr>
              <a:r>
                <a:rPr lang="en-US" sz="1600" b="1">
                  <a:solidFill>
                    <a:srgbClr val="00802F"/>
                  </a:solidFill>
                  <a:latin typeface="Titillium Web"/>
                </a:rPr>
                <a:t>       </a:t>
              </a:r>
              <a:r>
                <a:rPr lang="en-US" sz="1600" b="1">
                  <a:solidFill>
                    <a:srgbClr val="EA4235"/>
                  </a:solidFill>
                  <a:latin typeface="Titillium Web"/>
                </a:rPr>
                <a:t>ResNeXt Milestone:</a:t>
              </a:r>
              <a:r>
                <a:rPr lang="en-US" sz="1600" b="1">
                  <a:solidFill>
                    <a:srgbClr val="00802F"/>
                  </a:solidFill>
                  <a:latin typeface="Titillium Web"/>
                </a:rPr>
                <a:t> </a:t>
              </a:r>
            </a:p>
            <a:p>
              <a:r>
                <a:rPr lang="en-US" sz="1400">
                  <a:solidFill>
                    <a:schemeClr val="tx1"/>
                  </a:solidFill>
                  <a:latin typeface="Titillium Web"/>
                </a:rPr>
                <a:t>ResNeXt helped with generalization (vs. ResNet), reaching accuracy of 61.7%</a:t>
              </a:r>
            </a:p>
          </p:txBody>
        </p:sp>
        <p:sp>
          <p:nvSpPr>
            <p:cNvPr id="79" name="Oval 78">
              <a:extLst>
                <a:ext uri="{FF2B5EF4-FFF2-40B4-BE49-F238E27FC236}">
                  <a16:creationId xmlns:a16="http://schemas.microsoft.com/office/drawing/2014/main" id="{7DE5E286-D638-4F6E-8601-CD9EB9EC713B}"/>
                </a:ext>
              </a:extLst>
            </p:cNvPr>
            <p:cNvSpPr/>
            <p:nvPr/>
          </p:nvSpPr>
          <p:spPr>
            <a:xfrm>
              <a:off x="8813801" y="2969383"/>
              <a:ext cx="307323" cy="307323"/>
            </a:xfrm>
            <a:prstGeom prst="ellipse">
              <a:avLst/>
            </a:prstGeom>
            <a:solidFill>
              <a:srgbClr val="EA4235"/>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latin typeface="Titillium Web"/>
                </a:rPr>
                <a:t>2</a:t>
              </a:r>
              <a:endParaRPr lang="en-US" b="1">
                <a:latin typeface="Titillium Web"/>
              </a:endParaRPr>
            </a:p>
          </p:txBody>
        </p:sp>
      </p:grpSp>
      <p:grpSp>
        <p:nvGrpSpPr>
          <p:cNvPr id="49" name="Group 48">
            <a:extLst>
              <a:ext uri="{FF2B5EF4-FFF2-40B4-BE49-F238E27FC236}">
                <a16:creationId xmlns:a16="http://schemas.microsoft.com/office/drawing/2014/main" id="{BB912ED9-F03D-4B67-83FE-DBA338DA2B7A}"/>
              </a:ext>
            </a:extLst>
          </p:cNvPr>
          <p:cNvGrpSpPr/>
          <p:nvPr/>
        </p:nvGrpSpPr>
        <p:grpSpPr>
          <a:xfrm>
            <a:off x="8813801" y="4113287"/>
            <a:ext cx="2682874" cy="1115227"/>
            <a:chOff x="8813801" y="4113287"/>
            <a:chExt cx="2682874" cy="1115227"/>
          </a:xfrm>
        </p:grpSpPr>
        <p:sp>
          <p:nvSpPr>
            <p:cNvPr id="76" name="Rectangle 75">
              <a:extLst>
                <a:ext uri="{FF2B5EF4-FFF2-40B4-BE49-F238E27FC236}">
                  <a16:creationId xmlns:a16="http://schemas.microsoft.com/office/drawing/2014/main" id="{C2F07C9E-AAA0-46FD-ABC1-B026D83CDA17}"/>
                </a:ext>
              </a:extLst>
            </p:cNvPr>
            <p:cNvSpPr/>
            <p:nvPr/>
          </p:nvSpPr>
          <p:spPr>
            <a:xfrm>
              <a:off x="8813801" y="4151296"/>
              <a:ext cx="2682874" cy="1077218"/>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spcAft>
                  <a:spcPts val="600"/>
                </a:spcAft>
              </a:pPr>
              <a:r>
                <a:rPr lang="en-US" sz="1600" b="1">
                  <a:solidFill>
                    <a:srgbClr val="00802F"/>
                  </a:solidFill>
                  <a:latin typeface="Titillium Web"/>
                </a:rPr>
                <a:t>       </a:t>
              </a:r>
              <a:r>
                <a:rPr lang="en-US" sz="1600" b="1">
                  <a:solidFill>
                    <a:srgbClr val="ED904B"/>
                  </a:solidFill>
                  <a:latin typeface="Titillium Web"/>
                </a:rPr>
                <a:t>ViT Milestone:</a:t>
              </a:r>
            </a:p>
            <a:p>
              <a:r>
                <a:rPr lang="en-US" sz="1400">
                  <a:solidFill>
                    <a:schemeClr val="tx1"/>
                  </a:solidFill>
                  <a:latin typeface="Titillium Web"/>
                </a:rPr>
                <a:t>Despite to similar setup as before, highest result of 62.6% achieved by experimenting with epochs</a:t>
              </a:r>
            </a:p>
          </p:txBody>
        </p:sp>
        <p:sp>
          <p:nvSpPr>
            <p:cNvPr id="80" name="Oval 79">
              <a:extLst>
                <a:ext uri="{FF2B5EF4-FFF2-40B4-BE49-F238E27FC236}">
                  <a16:creationId xmlns:a16="http://schemas.microsoft.com/office/drawing/2014/main" id="{F7E87E34-074E-4A0F-A37F-6B2B5C60EB11}"/>
                </a:ext>
              </a:extLst>
            </p:cNvPr>
            <p:cNvSpPr/>
            <p:nvPr/>
          </p:nvSpPr>
          <p:spPr>
            <a:xfrm>
              <a:off x="8813801" y="4113287"/>
              <a:ext cx="307323" cy="307323"/>
            </a:xfrm>
            <a:prstGeom prst="ellipse">
              <a:avLst/>
            </a:prstGeom>
            <a:solidFill>
              <a:schemeClr val="accent5"/>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latin typeface="Titillium Web"/>
                </a:rPr>
                <a:t>3</a:t>
              </a:r>
              <a:endParaRPr lang="en-US" b="1">
                <a:latin typeface="Titillium Web"/>
              </a:endParaRPr>
            </a:p>
          </p:txBody>
        </p:sp>
      </p:grpSp>
      <p:grpSp>
        <p:nvGrpSpPr>
          <p:cNvPr id="50" name="Group 49">
            <a:extLst>
              <a:ext uri="{FF2B5EF4-FFF2-40B4-BE49-F238E27FC236}">
                <a16:creationId xmlns:a16="http://schemas.microsoft.com/office/drawing/2014/main" id="{8528583A-DD3C-4DF2-9BBC-F3ADA4EAC2FB}"/>
              </a:ext>
            </a:extLst>
          </p:cNvPr>
          <p:cNvGrpSpPr/>
          <p:nvPr/>
        </p:nvGrpSpPr>
        <p:grpSpPr>
          <a:xfrm>
            <a:off x="8813801" y="5271159"/>
            <a:ext cx="2682874" cy="1110590"/>
            <a:chOff x="8813801" y="5271159"/>
            <a:chExt cx="2682874" cy="1110590"/>
          </a:xfrm>
        </p:grpSpPr>
        <p:sp>
          <p:nvSpPr>
            <p:cNvPr id="77" name="Rectangle 76">
              <a:extLst>
                <a:ext uri="{FF2B5EF4-FFF2-40B4-BE49-F238E27FC236}">
                  <a16:creationId xmlns:a16="http://schemas.microsoft.com/office/drawing/2014/main" id="{AEC107EB-1222-40F6-A5DF-A98B2B0B607D}"/>
                </a:ext>
              </a:extLst>
            </p:cNvPr>
            <p:cNvSpPr/>
            <p:nvPr/>
          </p:nvSpPr>
          <p:spPr>
            <a:xfrm>
              <a:off x="8813801" y="5304531"/>
              <a:ext cx="2682874" cy="1077218"/>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spcAft>
                  <a:spcPts val="600"/>
                </a:spcAft>
              </a:pPr>
              <a:r>
                <a:rPr lang="en-US" sz="1600" b="1">
                  <a:solidFill>
                    <a:srgbClr val="00802F"/>
                  </a:solidFill>
                  <a:latin typeface="Titillium Web"/>
                </a:rPr>
                <a:t>       </a:t>
              </a:r>
              <a:r>
                <a:rPr lang="en-US" sz="1600" b="1">
                  <a:solidFill>
                    <a:srgbClr val="4C6C9C"/>
                  </a:solidFill>
                  <a:latin typeface="Titillium Web"/>
                </a:rPr>
                <a:t>(Little) DA milestone: </a:t>
              </a:r>
            </a:p>
            <a:p>
              <a:r>
                <a:rPr lang="en-US" sz="1400">
                  <a:solidFill>
                    <a:schemeClr val="tx1"/>
                  </a:solidFill>
                  <a:latin typeface="Titillium Web"/>
                </a:rPr>
                <a:t>Domain Adaptation showed good results with ResNet18 with 57.4% accuracy (vs. 52.6% without DA)</a:t>
              </a:r>
            </a:p>
          </p:txBody>
        </p:sp>
        <p:sp>
          <p:nvSpPr>
            <p:cNvPr id="81" name="Oval 80">
              <a:extLst>
                <a:ext uri="{FF2B5EF4-FFF2-40B4-BE49-F238E27FC236}">
                  <a16:creationId xmlns:a16="http://schemas.microsoft.com/office/drawing/2014/main" id="{CB783B36-7C77-4F8E-8A45-C32393B692A0}"/>
                </a:ext>
              </a:extLst>
            </p:cNvPr>
            <p:cNvSpPr/>
            <p:nvPr/>
          </p:nvSpPr>
          <p:spPr>
            <a:xfrm>
              <a:off x="8813801" y="5271159"/>
              <a:ext cx="307323" cy="307323"/>
            </a:xfrm>
            <a:prstGeom prst="ellipse">
              <a:avLst/>
            </a:prstGeom>
            <a:solidFill>
              <a:srgbClr val="4C6C9C"/>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a:latin typeface="Titillium Web"/>
                </a:rPr>
                <a:t>4</a:t>
              </a:r>
              <a:endParaRPr lang="en-US" b="1">
                <a:latin typeface="Titillium Web"/>
              </a:endParaRPr>
            </a:p>
          </p:txBody>
        </p:sp>
      </p:grpSp>
      <p:sp>
        <p:nvSpPr>
          <p:cNvPr id="60" name="Rectangle 59">
            <a:extLst>
              <a:ext uri="{FF2B5EF4-FFF2-40B4-BE49-F238E27FC236}">
                <a16:creationId xmlns:a16="http://schemas.microsoft.com/office/drawing/2014/main" id="{DFF1F71A-C90B-44E0-9ADB-8F1FAF459055}"/>
              </a:ext>
            </a:extLst>
          </p:cNvPr>
          <p:cNvSpPr/>
          <p:nvPr/>
        </p:nvSpPr>
        <p:spPr>
          <a:xfrm>
            <a:off x="3285779" y="2254838"/>
            <a:ext cx="896828" cy="2459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rgbClr val="C30C3E"/>
                </a:solidFill>
                <a:latin typeface="Titillium Web"/>
              </a:rPr>
              <a:t>ResNet: 58.5%</a:t>
            </a:r>
          </a:p>
        </p:txBody>
      </p:sp>
      <p:sp>
        <p:nvSpPr>
          <p:cNvPr id="163" name="Rectangle 162">
            <a:extLst>
              <a:ext uri="{FF2B5EF4-FFF2-40B4-BE49-F238E27FC236}">
                <a16:creationId xmlns:a16="http://schemas.microsoft.com/office/drawing/2014/main" id="{64B3DA59-189F-4093-A04D-ECBE2BF79EC5}"/>
              </a:ext>
            </a:extLst>
          </p:cNvPr>
          <p:cNvSpPr/>
          <p:nvPr/>
        </p:nvSpPr>
        <p:spPr>
          <a:xfrm>
            <a:off x="4263862" y="2096828"/>
            <a:ext cx="896828" cy="2459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rgbClr val="EA4235"/>
                </a:solidFill>
                <a:latin typeface="Titillium Web"/>
              </a:rPr>
              <a:t>ResNeXt: 61.7%</a:t>
            </a:r>
          </a:p>
        </p:txBody>
      </p:sp>
      <p:sp>
        <p:nvSpPr>
          <p:cNvPr id="164" name="Rectangle 163">
            <a:extLst>
              <a:ext uri="{FF2B5EF4-FFF2-40B4-BE49-F238E27FC236}">
                <a16:creationId xmlns:a16="http://schemas.microsoft.com/office/drawing/2014/main" id="{AF757331-7A96-4318-A4EF-50D240117DC1}"/>
              </a:ext>
            </a:extLst>
          </p:cNvPr>
          <p:cNvSpPr/>
          <p:nvPr/>
        </p:nvSpPr>
        <p:spPr>
          <a:xfrm>
            <a:off x="5515155" y="2052771"/>
            <a:ext cx="986511" cy="2459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rgbClr val="ED904B"/>
                </a:solidFill>
                <a:latin typeface="Titillium Web"/>
              </a:rPr>
              <a:t>ViT: 62.6%</a:t>
            </a:r>
          </a:p>
        </p:txBody>
      </p:sp>
      <p:sp>
        <p:nvSpPr>
          <p:cNvPr id="165" name="Rectangle 164">
            <a:extLst>
              <a:ext uri="{FF2B5EF4-FFF2-40B4-BE49-F238E27FC236}">
                <a16:creationId xmlns:a16="http://schemas.microsoft.com/office/drawing/2014/main" id="{655FF53E-466B-4C47-A654-8321A9BEC242}"/>
              </a:ext>
            </a:extLst>
          </p:cNvPr>
          <p:cNvSpPr/>
          <p:nvPr/>
        </p:nvSpPr>
        <p:spPr>
          <a:xfrm>
            <a:off x="7109870" y="2376477"/>
            <a:ext cx="986511" cy="2459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solidFill>
                  <a:srgbClr val="4C6C9C"/>
                </a:solidFill>
                <a:latin typeface="Titillium Web"/>
              </a:rPr>
              <a:t>DA: 57.4%</a:t>
            </a:r>
          </a:p>
        </p:txBody>
      </p:sp>
      <p:grpSp>
        <p:nvGrpSpPr>
          <p:cNvPr id="61" name="Group 60">
            <a:extLst>
              <a:ext uri="{FF2B5EF4-FFF2-40B4-BE49-F238E27FC236}">
                <a16:creationId xmlns:a16="http://schemas.microsoft.com/office/drawing/2014/main" id="{D6CE4BF4-7F75-474B-BD12-23801A1DEA79}"/>
              </a:ext>
            </a:extLst>
          </p:cNvPr>
          <p:cNvGrpSpPr/>
          <p:nvPr/>
        </p:nvGrpSpPr>
        <p:grpSpPr>
          <a:xfrm>
            <a:off x="1277569" y="1803299"/>
            <a:ext cx="10556208" cy="4483235"/>
            <a:chOff x="1277569" y="1803299"/>
            <a:chExt cx="10556208" cy="4483235"/>
          </a:xfrm>
        </p:grpSpPr>
        <p:sp>
          <p:nvSpPr>
            <p:cNvPr id="878" name="Rectangle 877">
              <a:extLst>
                <a:ext uri="{FF2B5EF4-FFF2-40B4-BE49-F238E27FC236}">
                  <a16:creationId xmlns:a16="http://schemas.microsoft.com/office/drawing/2014/main" id="{95B5EFF3-B737-4D18-AB6C-5CED67987A4C}"/>
                </a:ext>
              </a:extLst>
            </p:cNvPr>
            <p:cNvSpPr/>
            <p:nvPr/>
          </p:nvSpPr>
          <p:spPr>
            <a:xfrm>
              <a:off x="2208213" y="5643164"/>
              <a:ext cx="1152525" cy="64337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sp>
          <p:nvSpPr>
            <p:cNvPr id="672" name="ResNet layer">
              <a:extLst>
                <a:ext uri="{FF2B5EF4-FFF2-40B4-BE49-F238E27FC236}">
                  <a16:creationId xmlns:a16="http://schemas.microsoft.com/office/drawing/2014/main" id="{E5AC13B1-AC63-4CFB-A51B-0281A2941D31}"/>
                </a:ext>
              </a:extLst>
            </p:cNvPr>
            <p:cNvSpPr/>
            <p:nvPr/>
          </p:nvSpPr>
          <p:spPr>
            <a:xfrm>
              <a:off x="1277569" y="2196356"/>
              <a:ext cx="3048175" cy="294959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sp>
          <p:nvSpPr>
            <p:cNvPr id="55" name="Rectangle 54">
              <a:extLst>
                <a:ext uri="{FF2B5EF4-FFF2-40B4-BE49-F238E27FC236}">
                  <a16:creationId xmlns:a16="http://schemas.microsoft.com/office/drawing/2014/main" id="{C588B30A-435F-4004-929A-FCC0CB6D4343}"/>
                </a:ext>
              </a:extLst>
            </p:cNvPr>
            <p:cNvSpPr/>
            <p:nvPr/>
          </p:nvSpPr>
          <p:spPr>
            <a:xfrm>
              <a:off x="8755385" y="1803299"/>
              <a:ext cx="3078392" cy="102235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grpSp>
      <p:grpSp>
        <p:nvGrpSpPr>
          <p:cNvPr id="62" name="Group 61">
            <a:extLst>
              <a:ext uri="{FF2B5EF4-FFF2-40B4-BE49-F238E27FC236}">
                <a16:creationId xmlns:a16="http://schemas.microsoft.com/office/drawing/2014/main" id="{E038121E-8F20-4414-BA33-36CD38BCDB1B}"/>
              </a:ext>
            </a:extLst>
          </p:cNvPr>
          <p:cNvGrpSpPr/>
          <p:nvPr/>
        </p:nvGrpSpPr>
        <p:grpSpPr>
          <a:xfrm>
            <a:off x="3454400" y="1940710"/>
            <a:ext cx="8379377" cy="4365826"/>
            <a:chOff x="3454400" y="1940710"/>
            <a:chExt cx="8379377" cy="4365826"/>
          </a:xfrm>
        </p:grpSpPr>
        <p:sp>
          <p:nvSpPr>
            <p:cNvPr id="879" name="Rectangle 878">
              <a:extLst>
                <a:ext uri="{FF2B5EF4-FFF2-40B4-BE49-F238E27FC236}">
                  <a16:creationId xmlns:a16="http://schemas.microsoft.com/office/drawing/2014/main" id="{28E04FFB-730D-47ED-ADBC-226253646DB3}"/>
                </a:ext>
              </a:extLst>
            </p:cNvPr>
            <p:cNvSpPr/>
            <p:nvPr/>
          </p:nvSpPr>
          <p:spPr>
            <a:xfrm>
              <a:off x="3454400" y="5663166"/>
              <a:ext cx="1152525" cy="64337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sp>
          <p:nvSpPr>
            <p:cNvPr id="872" name="$ResNext layer">
              <a:extLst>
                <a:ext uri="{FF2B5EF4-FFF2-40B4-BE49-F238E27FC236}">
                  <a16:creationId xmlns:a16="http://schemas.microsoft.com/office/drawing/2014/main" id="{6FE5E459-B69A-4FDC-9EA2-E835EE744975}"/>
                </a:ext>
              </a:extLst>
            </p:cNvPr>
            <p:cNvSpPr/>
            <p:nvPr/>
          </p:nvSpPr>
          <p:spPr>
            <a:xfrm>
              <a:off x="4337586" y="1940710"/>
              <a:ext cx="751096" cy="27035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Titillium Web"/>
                </a:rPr>
                <a:t>n</a:t>
              </a:r>
            </a:p>
          </p:txBody>
        </p:sp>
        <p:sp>
          <p:nvSpPr>
            <p:cNvPr id="155" name="Rectangle 154">
              <a:extLst>
                <a:ext uri="{FF2B5EF4-FFF2-40B4-BE49-F238E27FC236}">
                  <a16:creationId xmlns:a16="http://schemas.microsoft.com/office/drawing/2014/main" id="{456A540E-E594-42CB-841C-843070026AE7}"/>
                </a:ext>
              </a:extLst>
            </p:cNvPr>
            <p:cNvSpPr/>
            <p:nvPr/>
          </p:nvSpPr>
          <p:spPr>
            <a:xfrm>
              <a:off x="8755385" y="2953678"/>
              <a:ext cx="3078392" cy="102235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grpSp>
      <p:grpSp>
        <p:nvGrpSpPr>
          <p:cNvPr id="896" name="Group 895">
            <a:extLst>
              <a:ext uri="{FF2B5EF4-FFF2-40B4-BE49-F238E27FC236}">
                <a16:creationId xmlns:a16="http://schemas.microsoft.com/office/drawing/2014/main" id="{CA41A4A1-5EF8-447B-89AF-C492B3AAE10B}"/>
              </a:ext>
            </a:extLst>
          </p:cNvPr>
          <p:cNvGrpSpPr/>
          <p:nvPr/>
        </p:nvGrpSpPr>
        <p:grpSpPr>
          <a:xfrm>
            <a:off x="5665788" y="2401888"/>
            <a:ext cx="6167989" cy="4118194"/>
            <a:chOff x="5665788" y="2401888"/>
            <a:chExt cx="6167989" cy="4118194"/>
          </a:xfrm>
        </p:grpSpPr>
        <p:sp>
          <p:nvSpPr>
            <p:cNvPr id="881" name="Rectangle 880">
              <a:extLst>
                <a:ext uri="{FF2B5EF4-FFF2-40B4-BE49-F238E27FC236}">
                  <a16:creationId xmlns:a16="http://schemas.microsoft.com/office/drawing/2014/main" id="{75C32A74-4781-4B20-96F2-08A42F4B6A21}"/>
                </a:ext>
              </a:extLst>
            </p:cNvPr>
            <p:cNvSpPr/>
            <p:nvPr/>
          </p:nvSpPr>
          <p:spPr>
            <a:xfrm>
              <a:off x="5665788" y="5588220"/>
              <a:ext cx="1870075" cy="931862"/>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sp>
          <p:nvSpPr>
            <p:cNvPr id="673" name="DA layer">
              <a:extLst>
                <a:ext uri="{FF2B5EF4-FFF2-40B4-BE49-F238E27FC236}">
                  <a16:creationId xmlns:a16="http://schemas.microsoft.com/office/drawing/2014/main" id="{F8263DF2-6D14-44FF-8F8A-32AFC827CE56}"/>
                </a:ext>
              </a:extLst>
            </p:cNvPr>
            <p:cNvSpPr/>
            <p:nvPr/>
          </p:nvSpPr>
          <p:spPr>
            <a:xfrm flipH="1">
              <a:off x="6602153" y="2401888"/>
              <a:ext cx="1453147" cy="189547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sp>
          <p:nvSpPr>
            <p:cNvPr id="157" name="Rectangle 156">
              <a:extLst>
                <a:ext uri="{FF2B5EF4-FFF2-40B4-BE49-F238E27FC236}">
                  <a16:creationId xmlns:a16="http://schemas.microsoft.com/office/drawing/2014/main" id="{6B8AA4C2-9BB6-4E90-B14E-D51C863D8AB0}"/>
                </a:ext>
              </a:extLst>
            </p:cNvPr>
            <p:cNvSpPr/>
            <p:nvPr/>
          </p:nvSpPr>
          <p:spPr>
            <a:xfrm>
              <a:off x="8755385" y="5257801"/>
              <a:ext cx="3078392" cy="102235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grpSp>
      <p:grpSp>
        <p:nvGrpSpPr>
          <p:cNvPr id="898" name="Group 897">
            <a:extLst>
              <a:ext uri="{FF2B5EF4-FFF2-40B4-BE49-F238E27FC236}">
                <a16:creationId xmlns:a16="http://schemas.microsoft.com/office/drawing/2014/main" id="{59673797-A475-4025-BD23-AD943EA14B58}"/>
              </a:ext>
            </a:extLst>
          </p:cNvPr>
          <p:cNvGrpSpPr/>
          <p:nvPr/>
        </p:nvGrpSpPr>
        <p:grpSpPr>
          <a:xfrm>
            <a:off x="4662488" y="2019346"/>
            <a:ext cx="7171289" cy="4172227"/>
            <a:chOff x="4662488" y="2019346"/>
            <a:chExt cx="7171289" cy="4172227"/>
          </a:xfrm>
        </p:grpSpPr>
        <p:grpSp>
          <p:nvGrpSpPr>
            <p:cNvPr id="63" name="Group 62">
              <a:extLst>
                <a:ext uri="{FF2B5EF4-FFF2-40B4-BE49-F238E27FC236}">
                  <a16:creationId xmlns:a16="http://schemas.microsoft.com/office/drawing/2014/main" id="{6AFC33ED-4FDF-4545-A62A-DC8AA00EA20C}"/>
                </a:ext>
              </a:extLst>
            </p:cNvPr>
            <p:cNvGrpSpPr/>
            <p:nvPr/>
          </p:nvGrpSpPr>
          <p:grpSpPr>
            <a:xfrm>
              <a:off x="4662488" y="2313237"/>
              <a:ext cx="7171289" cy="3878336"/>
              <a:chOff x="4662488" y="2313237"/>
              <a:chExt cx="7171289" cy="3878336"/>
            </a:xfrm>
          </p:grpSpPr>
          <p:sp>
            <p:nvSpPr>
              <p:cNvPr id="880" name="Rectangle 879">
                <a:extLst>
                  <a:ext uri="{FF2B5EF4-FFF2-40B4-BE49-F238E27FC236}">
                    <a16:creationId xmlns:a16="http://schemas.microsoft.com/office/drawing/2014/main" id="{AFAF8DD6-087E-4207-80F5-CB916F115DEB}"/>
                  </a:ext>
                </a:extLst>
              </p:cNvPr>
              <p:cNvSpPr/>
              <p:nvPr/>
            </p:nvSpPr>
            <p:spPr>
              <a:xfrm>
                <a:off x="4662488" y="5548203"/>
                <a:ext cx="906463" cy="64337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sp>
            <p:nvSpPr>
              <p:cNvPr id="674" name="ViT layer">
                <a:extLst>
                  <a:ext uri="{FF2B5EF4-FFF2-40B4-BE49-F238E27FC236}">
                    <a16:creationId xmlns:a16="http://schemas.microsoft.com/office/drawing/2014/main" id="{2A3836F8-FE39-4BC2-8B5A-25255DE3D675}"/>
                  </a:ext>
                </a:extLst>
              </p:cNvPr>
              <p:cNvSpPr/>
              <p:nvPr/>
            </p:nvSpPr>
            <p:spPr>
              <a:xfrm>
                <a:off x="5100524" y="2313237"/>
                <a:ext cx="1500326" cy="222957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sp>
            <p:nvSpPr>
              <p:cNvPr id="156" name="Rectangle 155">
                <a:extLst>
                  <a:ext uri="{FF2B5EF4-FFF2-40B4-BE49-F238E27FC236}">
                    <a16:creationId xmlns:a16="http://schemas.microsoft.com/office/drawing/2014/main" id="{887C3672-47EB-4446-B563-2FF3865BA1FA}"/>
                  </a:ext>
                </a:extLst>
              </p:cNvPr>
              <p:cNvSpPr/>
              <p:nvPr/>
            </p:nvSpPr>
            <p:spPr>
              <a:xfrm>
                <a:off x="8755385" y="4102247"/>
                <a:ext cx="3078392" cy="102235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grpSp>
        <p:sp>
          <p:nvSpPr>
            <p:cNvPr id="897" name="Rectangle 896">
              <a:extLst>
                <a:ext uri="{FF2B5EF4-FFF2-40B4-BE49-F238E27FC236}">
                  <a16:creationId xmlns:a16="http://schemas.microsoft.com/office/drawing/2014/main" id="{B0F5CB0B-ED87-4975-B6A0-E72E5EA31618}"/>
                </a:ext>
              </a:extLst>
            </p:cNvPr>
            <p:cNvSpPr/>
            <p:nvPr/>
          </p:nvSpPr>
          <p:spPr>
            <a:xfrm>
              <a:off x="5515155" y="2019346"/>
              <a:ext cx="1098370" cy="288936"/>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grpSp>
      <p:sp>
        <p:nvSpPr>
          <p:cNvPr id="899" name="Rectangle 898">
            <a:extLst>
              <a:ext uri="{FF2B5EF4-FFF2-40B4-BE49-F238E27FC236}">
                <a16:creationId xmlns:a16="http://schemas.microsoft.com/office/drawing/2014/main" id="{44B82078-D285-4167-AA0A-96E18F393AC0}"/>
              </a:ext>
            </a:extLst>
          </p:cNvPr>
          <p:cNvSpPr/>
          <p:nvPr/>
        </p:nvSpPr>
        <p:spPr>
          <a:xfrm rot="16200000">
            <a:off x="-282740" y="3481328"/>
            <a:ext cx="1625881" cy="305201"/>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Titillium Web"/>
              </a:rPr>
              <a:t>Accuracy</a:t>
            </a:r>
          </a:p>
        </p:txBody>
      </p:sp>
      <p:sp>
        <p:nvSpPr>
          <p:cNvPr id="204" name="Rectangle 203">
            <a:extLst>
              <a:ext uri="{FF2B5EF4-FFF2-40B4-BE49-F238E27FC236}">
                <a16:creationId xmlns:a16="http://schemas.microsoft.com/office/drawing/2014/main" id="{02FA4B0D-7835-44CB-977C-5C1979A56BE6}"/>
              </a:ext>
            </a:extLst>
          </p:cNvPr>
          <p:cNvSpPr/>
          <p:nvPr/>
        </p:nvSpPr>
        <p:spPr>
          <a:xfrm>
            <a:off x="3129474" y="5500063"/>
            <a:ext cx="2880348" cy="305201"/>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Titillium Web"/>
              </a:rPr>
              <a:t>Number of Submissions</a:t>
            </a:r>
          </a:p>
        </p:txBody>
      </p:sp>
      <p:sp>
        <p:nvSpPr>
          <p:cNvPr id="211" name="Rectangle 210">
            <a:extLst>
              <a:ext uri="{FF2B5EF4-FFF2-40B4-BE49-F238E27FC236}">
                <a16:creationId xmlns:a16="http://schemas.microsoft.com/office/drawing/2014/main" id="{C1F728C7-9DC5-494C-B2CB-FEF60FB7858C}"/>
              </a:ext>
            </a:extLst>
          </p:cNvPr>
          <p:cNvSpPr/>
          <p:nvPr/>
        </p:nvSpPr>
        <p:spPr>
          <a:xfrm>
            <a:off x="-2859985" y="0"/>
            <a:ext cx="2664296" cy="720080"/>
          </a:xfrm>
          <a:prstGeom prst="rect">
            <a:avLst/>
          </a:prstGeom>
          <a:solidFill>
            <a:srgbClr val="FFFED9"/>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Presenter: Kaan</a:t>
            </a:r>
            <a:endParaRPr lang="en-US">
              <a:solidFill>
                <a:schemeClr val="tx1"/>
              </a:solidFill>
            </a:endParaRPr>
          </a:p>
        </p:txBody>
      </p:sp>
    </p:spTree>
    <p:extLst>
      <p:ext uri="{BB962C8B-B14F-4D97-AF65-F5344CB8AC3E}">
        <p14:creationId xmlns:p14="http://schemas.microsoft.com/office/powerpoint/2010/main" val="345129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1"/>
                                        </p:tgtEl>
                                      </p:cBhvr>
                                    </p:animEffect>
                                    <p:set>
                                      <p:cBhvr>
                                        <p:cTn id="7" dur="1" fill="hold">
                                          <p:stCondLst>
                                            <p:cond delay="499"/>
                                          </p:stCondLst>
                                        </p:cTn>
                                        <p:tgtEl>
                                          <p:spTgt spid="61"/>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62"/>
                                        </p:tgtEl>
                                      </p:cBhvr>
                                    </p:animEffect>
                                    <p:set>
                                      <p:cBhvr>
                                        <p:cTn id="12" dur="1" fill="hold">
                                          <p:stCondLst>
                                            <p:cond delay="499"/>
                                          </p:stCondLst>
                                        </p:cTn>
                                        <p:tgtEl>
                                          <p:spTgt spid="6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898"/>
                                        </p:tgtEl>
                                      </p:cBhvr>
                                    </p:animEffect>
                                    <p:set>
                                      <p:cBhvr>
                                        <p:cTn id="17" dur="1" fill="hold">
                                          <p:stCondLst>
                                            <p:cond delay="499"/>
                                          </p:stCondLst>
                                        </p:cTn>
                                        <p:tgtEl>
                                          <p:spTgt spid="898"/>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500"/>
                                        <p:tgtEl>
                                          <p:spTgt spid="896"/>
                                        </p:tgtEl>
                                      </p:cBhvr>
                                    </p:animEffect>
                                    <p:set>
                                      <p:cBhvr>
                                        <p:cTn id="22" dur="1" fill="hold">
                                          <p:stCondLst>
                                            <p:cond delay="499"/>
                                          </p:stCondLst>
                                        </p:cTn>
                                        <p:tgtEl>
                                          <p:spTgt spid="89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9A4A1F-1FF1-432F-9C1C-F4784D60F689}"/>
              </a:ext>
            </a:extLst>
          </p:cNvPr>
          <p:cNvGraphicFramePr>
            <a:graphicFrameLocks noChangeAspect="1"/>
          </p:cNvGraphicFramePr>
          <p:nvPr>
            <p:custDataLst>
              <p:tags r:id="rId2"/>
            </p:custDataLst>
            <p:extLst>
              <p:ext uri="{D42A27DB-BD31-4B8C-83A1-F6EECF244321}">
                <p14:modId xmlns:p14="http://schemas.microsoft.com/office/powerpoint/2010/main" val="765259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592" imgH="591" progId="TCLayout.ActiveDocument.1">
                  <p:embed/>
                </p:oleObj>
              </mc:Choice>
              <mc:Fallback>
                <p:oleObj name="think-cell Slide" r:id="rId5" imgW="592" imgH="591" progId="TCLayout.ActiveDocument.1">
                  <p:embed/>
                  <p:pic>
                    <p:nvPicPr>
                      <p:cNvPr id="6" name="think-cell data - do not delete" hidden="1">
                        <a:extLst>
                          <a:ext uri="{FF2B5EF4-FFF2-40B4-BE49-F238E27FC236}">
                            <a16:creationId xmlns:a16="http://schemas.microsoft.com/office/drawing/2014/main" id="{729A4A1F-1FF1-432F-9C1C-F4784D60F6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CDFD5C-4E36-46BD-BAC5-A7FD1B183CD4}"/>
              </a:ext>
            </a:extLst>
          </p:cNvPr>
          <p:cNvSpPr>
            <a:spLocks noGrp="1"/>
          </p:cNvSpPr>
          <p:nvPr>
            <p:ph type="title"/>
          </p:nvPr>
        </p:nvSpPr>
        <p:spPr>
          <a:xfrm>
            <a:off x="3240000" y="319962"/>
            <a:ext cx="8431988" cy="540000"/>
          </a:xfrm>
        </p:spPr>
        <p:txBody>
          <a:bodyPr vert="horz"/>
          <a:lstStyle/>
          <a:p>
            <a:r>
              <a:rPr lang="de-CH" err="1"/>
              <a:t>ResNet</a:t>
            </a:r>
            <a:r>
              <a:rPr lang="de-CH"/>
              <a:t> &amp; </a:t>
            </a:r>
            <a:r>
              <a:rPr lang="de-CH" err="1"/>
              <a:t>ResNeXt</a:t>
            </a:r>
            <a:endParaRPr lang="en-US"/>
          </a:p>
        </p:txBody>
      </p:sp>
      <p:sp>
        <p:nvSpPr>
          <p:cNvPr id="4" name="Slide Number Placeholder 3">
            <a:extLst>
              <a:ext uri="{FF2B5EF4-FFF2-40B4-BE49-F238E27FC236}">
                <a16:creationId xmlns:a16="http://schemas.microsoft.com/office/drawing/2014/main" id="{CF03E9C0-4BD8-4C72-B341-6226257AF948}"/>
              </a:ext>
            </a:extLst>
          </p:cNvPr>
          <p:cNvSpPr>
            <a:spLocks noGrp="1"/>
          </p:cNvSpPr>
          <p:nvPr>
            <p:ph type="sldNum" sz="quarter" idx="4"/>
          </p:nvPr>
        </p:nvSpPr>
        <p:spPr/>
        <p:txBody>
          <a:bodyPr/>
          <a:lstStyle/>
          <a:p>
            <a:fld id="{1FF5481D-800C-4F34-B3D6-C18BC0A4FD2D}" type="slidenum">
              <a:rPr lang="de-CH" smtClean="0"/>
              <a:pPr/>
              <a:t>4</a:t>
            </a:fld>
            <a:endParaRPr lang="de-CH"/>
          </a:p>
        </p:txBody>
      </p:sp>
      <p:sp>
        <p:nvSpPr>
          <p:cNvPr id="5" name="Footer Placeholder 4">
            <a:extLst>
              <a:ext uri="{FF2B5EF4-FFF2-40B4-BE49-F238E27FC236}">
                <a16:creationId xmlns:a16="http://schemas.microsoft.com/office/drawing/2014/main" id="{B7A814E7-1248-428F-8BBA-77CE98C69E87}"/>
              </a:ext>
            </a:extLst>
          </p:cNvPr>
          <p:cNvSpPr>
            <a:spLocks noGrp="1"/>
          </p:cNvSpPr>
          <p:nvPr>
            <p:ph type="ftr" sz="quarter" idx="3"/>
          </p:nvPr>
        </p:nvSpPr>
        <p:spPr/>
        <p:txBody>
          <a:bodyPr/>
          <a:lstStyle/>
          <a:p>
            <a:r>
              <a:rPr lang="en-US" noProof="0"/>
              <a:t>Prof. Damian Borth - Artificial Intelligence &amp; Machine Learning [AIML]</a:t>
            </a:r>
          </a:p>
        </p:txBody>
      </p:sp>
      <p:grpSp>
        <p:nvGrpSpPr>
          <p:cNvPr id="17" name="Group 16">
            <a:extLst>
              <a:ext uri="{FF2B5EF4-FFF2-40B4-BE49-F238E27FC236}">
                <a16:creationId xmlns:a16="http://schemas.microsoft.com/office/drawing/2014/main" id="{25B4BABA-7D74-73D9-750D-1221850D4A3C}"/>
              </a:ext>
            </a:extLst>
          </p:cNvPr>
          <p:cNvGrpSpPr/>
          <p:nvPr/>
        </p:nvGrpSpPr>
        <p:grpSpPr>
          <a:xfrm>
            <a:off x="450000" y="793792"/>
            <a:ext cx="3952556" cy="648011"/>
            <a:chOff x="3240000" y="1336323"/>
            <a:chExt cx="4296954" cy="648011"/>
          </a:xfrm>
        </p:grpSpPr>
        <p:sp>
          <p:nvSpPr>
            <p:cNvPr id="18" name="Rectangle 17">
              <a:extLst>
                <a:ext uri="{FF2B5EF4-FFF2-40B4-BE49-F238E27FC236}">
                  <a16:creationId xmlns:a16="http://schemas.microsoft.com/office/drawing/2014/main" id="{FD6D3686-22D2-8D95-3A73-69791314CC5B}"/>
                </a:ext>
              </a:extLst>
            </p:cNvPr>
            <p:cNvSpPr/>
            <p:nvPr/>
          </p:nvSpPr>
          <p:spPr>
            <a:xfrm>
              <a:off x="3240000" y="1336323"/>
              <a:ext cx="4296954" cy="540000"/>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CH" b="1">
                  <a:solidFill>
                    <a:srgbClr val="00802F"/>
                  </a:solidFill>
                </a:rPr>
                <a:t>Models</a:t>
              </a:r>
              <a:endParaRPr lang="en-US" b="1">
                <a:solidFill>
                  <a:srgbClr val="00802F"/>
                </a:solidFill>
              </a:endParaRPr>
            </a:p>
          </p:txBody>
        </p:sp>
        <p:cxnSp>
          <p:nvCxnSpPr>
            <p:cNvPr id="19" name="Straight Connector 18">
              <a:extLst>
                <a:ext uri="{FF2B5EF4-FFF2-40B4-BE49-F238E27FC236}">
                  <a16:creationId xmlns:a16="http://schemas.microsoft.com/office/drawing/2014/main" id="{145C6B29-974C-DFDD-2907-F1935C241B98}"/>
                </a:ext>
              </a:extLst>
            </p:cNvPr>
            <p:cNvCxnSpPr>
              <a:cxnSpLocks/>
            </p:cNvCxnSpPr>
            <p:nvPr/>
          </p:nvCxnSpPr>
          <p:spPr>
            <a:xfrm>
              <a:off x="3240000" y="1984334"/>
              <a:ext cx="4296954"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51019F71-AEC4-3926-891D-6D66A928E5FF}"/>
              </a:ext>
            </a:extLst>
          </p:cNvPr>
          <p:cNvGrpSpPr/>
          <p:nvPr/>
        </p:nvGrpSpPr>
        <p:grpSpPr>
          <a:xfrm>
            <a:off x="450000" y="2230490"/>
            <a:ext cx="3952556" cy="648011"/>
            <a:chOff x="3240000" y="1336323"/>
            <a:chExt cx="4296954" cy="648011"/>
          </a:xfrm>
        </p:grpSpPr>
        <p:sp>
          <p:nvSpPr>
            <p:cNvPr id="21" name="Rectangle 20">
              <a:extLst>
                <a:ext uri="{FF2B5EF4-FFF2-40B4-BE49-F238E27FC236}">
                  <a16:creationId xmlns:a16="http://schemas.microsoft.com/office/drawing/2014/main" id="{65303378-A48D-815B-6FB7-8865A0AEB456}"/>
                </a:ext>
              </a:extLst>
            </p:cNvPr>
            <p:cNvSpPr/>
            <p:nvPr/>
          </p:nvSpPr>
          <p:spPr>
            <a:xfrm>
              <a:off x="3240000" y="1336323"/>
              <a:ext cx="4296954" cy="540000"/>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GB" b="1">
                  <a:solidFill>
                    <a:srgbClr val="00802F"/>
                  </a:solidFill>
                </a:rPr>
                <a:t>Transformations</a:t>
              </a:r>
            </a:p>
          </p:txBody>
        </p:sp>
        <p:cxnSp>
          <p:nvCxnSpPr>
            <p:cNvPr id="22" name="Straight Connector 21">
              <a:extLst>
                <a:ext uri="{FF2B5EF4-FFF2-40B4-BE49-F238E27FC236}">
                  <a16:creationId xmlns:a16="http://schemas.microsoft.com/office/drawing/2014/main" id="{95628F54-FFB1-0072-76F2-FA2FD797A47E}"/>
                </a:ext>
              </a:extLst>
            </p:cNvPr>
            <p:cNvCxnSpPr>
              <a:cxnSpLocks/>
            </p:cNvCxnSpPr>
            <p:nvPr/>
          </p:nvCxnSpPr>
          <p:spPr>
            <a:xfrm>
              <a:off x="3240000" y="1984334"/>
              <a:ext cx="4296954"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D6BAB7DA-7E42-8CC3-23B1-513A1D4518A8}"/>
              </a:ext>
            </a:extLst>
          </p:cNvPr>
          <p:cNvGrpSpPr/>
          <p:nvPr/>
        </p:nvGrpSpPr>
        <p:grpSpPr>
          <a:xfrm>
            <a:off x="438103" y="4293157"/>
            <a:ext cx="3952556" cy="648011"/>
            <a:chOff x="3240000" y="1402569"/>
            <a:chExt cx="4296954" cy="648011"/>
          </a:xfrm>
        </p:grpSpPr>
        <p:sp>
          <p:nvSpPr>
            <p:cNvPr id="27" name="Rectangle 26">
              <a:extLst>
                <a:ext uri="{FF2B5EF4-FFF2-40B4-BE49-F238E27FC236}">
                  <a16:creationId xmlns:a16="http://schemas.microsoft.com/office/drawing/2014/main" id="{6FADE043-AE33-C921-1F82-D6A34BC7F60E}"/>
                </a:ext>
              </a:extLst>
            </p:cNvPr>
            <p:cNvSpPr/>
            <p:nvPr/>
          </p:nvSpPr>
          <p:spPr>
            <a:xfrm>
              <a:off x="3240000" y="1402569"/>
              <a:ext cx="4296954" cy="540000"/>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CH" b="1">
                  <a:solidFill>
                    <a:srgbClr val="00802F"/>
                  </a:solidFill>
                </a:rPr>
                <a:t>Experiments</a:t>
              </a:r>
              <a:endParaRPr lang="en-US" b="1">
                <a:solidFill>
                  <a:srgbClr val="00802F"/>
                </a:solidFill>
              </a:endParaRPr>
            </a:p>
          </p:txBody>
        </p:sp>
        <p:cxnSp>
          <p:nvCxnSpPr>
            <p:cNvPr id="28" name="Straight Connector 27">
              <a:extLst>
                <a:ext uri="{FF2B5EF4-FFF2-40B4-BE49-F238E27FC236}">
                  <a16:creationId xmlns:a16="http://schemas.microsoft.com/office/drawing/2014/main" id="{695C8FD0-6337-A76D-63ED-E251297FD135}"/>
                </a:ext>
              </a:extLst>
            </p:cNvPr>
            <p:cNvCxnSpPr>
              <a:cxnSpLocks/>
            </p:cNvCxnSpPr>
            <p:nvPr/>
          </p:nvCxnSpPr>
          <p:spPr>
            <a:xfrm>
              <a:off x="3240000" y="2050580"/>
              <a:ext cx="4296954"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9" name="Rectangle 28">
            <a:extLst>
              <a:ext uri="{FF2B5EF4-FFF2-40B4-BE49-F238E27FC236}">
                <a16:creationId xmlns:a16="http://schemas.microsoft.com/office/drawing/2014/main" id="{ED57ECE3-DA75-74E0-2B08-CEAD9AEDAB30}"/>
              </a:ext>
            </a:extLst>
          </p:cNvPr>
          <p:cNvSpPr/>
          <p:nvPr/>
        </p:nvSpPr>
        <p:spPr>
          <a:xfrm>
            <a:off x="438364" y="1556793"/>
            <a:ext cx="5180154" cy="72007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tabLst>
                <a:tab pos="1106488" algn="l"/>
                <a:tab pos="1152525" algn="l"/>
              </a:tabLst>
            </a:pPr>
            <a:r>
              <a:rPr lang="en-GB" sz="1600" b="1">
                <a:solidFill>
                  <a:schemeClr val="tx1"/>
                </a:solidFill>
                <a:latin typeface="Titillium Web"/>
              </a:rPr>
              <a:t>ResNet50:  	</a:t>
            </a:r>
            <a:r>
              <a:rPr lang="en-GB" sz="1600">
                <a:solidFill>
                  <a:schemeClr val="tx1"/>
                </a:solidFill>
                <a:latin typeface="Titillium Web"/>
              </a:rPr>
              <a:t>default</a:t>
            </a:r>
            <a:r>
              <a:rPr lang="en-GB" sz="1600" b="1">
                <a:solidFill>
                  <a:schemeClr val="tx1"/>
                </a:solidFill>
                <a:latin typeface="Titillium Web"/>
              </a:rPr>
              <a:t> </a:t>
            </a:r>
            <a:r>
              <a:rPr lang="en-GB" sz="1600">
                <a:solidFill>
                  <a:schemeClr val="tx1"/>
                </a:solidFill>
                <a:latin typeface="Titillium Web"/>
              </a:rPr>
              <a:t>pretrained</a:t>
            </a:r>
            <a:r>
              <a:rPr lang="en-GB" sz="1600" b="1">
                <a:solidFill>
                  <a:schemeClr val="tx1"/>
                </a:solidFill>
                <a:latin typeface="Titillium Web"/>
              </a:rPr>
              <a:t> </a:t>
            </a:r>
            <a:r>
              <a:rPr lang="en-GB" sz="1600">
                <a:solidFill>
                  <a:schemeClr val="tx1"/>
                </a:solidFill>
                <a:latin typeface="Titillium Web"/>
              </a:rPr>
              <a:t>weights  from PyTorch</a:t>
            </a:r>
          </a:p>
          <a:p>
            <a:pPr>
              <a:spcAft>
                <a:spcPts val="600"/>
              </a:spcAft>
              <a:tabLst>
                <a:tab pos="1106488" algn="l"/>
              </a:tabLst>
            </a:pPr>
            <a:r>
              <a:rPr lang="en-GB" sz="1600" b="1" err="1">
                <a:solidFill>
                  <a:schemeClr val="tx1"/>
                </a:solidFill>
                <a:latin typeface="Titillium Web"/>
              </a:rPr>
              <a:t>ResNeXt</a:t>
            </a:r>
            <a:r>
              <a:rPr lang="en-GB" sz="1600">
                <a:solidFill>
                  <a:schemeClr val="tx1"/>
                </a:solidFill>
                <a:latin typeface="Titillium Web"/>
              </a:rPr>
              <a:t>:  	as above, architecture ResNeXt101_64X4D </a:t>
            </a:r>
          </a:p>
        </p:txBody>
      </p:sp>
      <p:sp>
        <p:nvSpPr>
          <p:cNvPr id="30" name="Rectangle 29">
            <a:extLst>
              <a:ext uri="{FF2B5EF4-FFF2-40B4-BE49-F238E27FC236}">
                <a16:creationId xmlns:a16="http://schemas.microsoft.com/office/drawing/2014/main" id="{BF219C91-4630-FB4C-9599-57442A91B3DE}"/>
              </a:ext>
            </a:extLst>
          </p:cNvPr>
          <p:cNvSpPr/>
          <p:nvPr/>
        </p:nvSpPr>
        <p:spPr>
          <a:xfrm>
            <a:off x="6817137" y="5891635"/>
            <a:ext cx="5180153" cy="394351"/>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tabLst>
                <a:tab pos="1106488" algn="l"/>
                <a:tab pos="1152525" algn="l"/>
                <a:tab pos="2525713" algn="l"/>
              </a:tabLst>
            </a:pPr>
            <a:r>
              <a:rPr lang="de-CH" sz="1600" b="1">
                <a:solidFill>
                  <a:schemeClr val="tx1"/>
                </a:solidFill>
                <a:latin typeface="Titillium Web"/>
              </a:rPr>
              <a:t>ResNet50  </a:t>
            </a:r>
            <a:r>
              <a:rPr lang="de-CH" sz="1600">
                <a:solidFill>
                  <a:schemeClr val="tx1"/>
                </a:solidFill>
                <a:latin typeface="Titillium Web"/>
              </a:rPr>
              <a:t>0.585 	</a:t>
            </a:r>
            <a:r>
              <a:rPr lang="de-CH" sz="1600" b="1" err="1">
                <a:solidFill>
                  <a:schemeClr val="tx1"/>
                </a:solidFill>
                <a:latin typeface="Titillium Web"/>
              </a:rPr>
              <a:t>ResNeXt</a:t>
            </a:r>
            <a:r>
              <a:rPr lang="de-CH" sz="1600">
                <a:solidFill>
                  <a:schemeClr val="tx1"/>
                </a:solidFill>
                <a:latin typeface="Titillium Web"/>
              </a:rPr>
              <a:t>  0.617</a:t>
            </a:r>
          </a:p>
        </p:txBody>
      </p:sp>
      <p:sp>
        <p:nvSpPr>
          <p:cNvPr id="31" name="Rectangle 30">
            <a:extLst>
              <a:ext uri="{FF2B5EF4-FFF2-40B4-BE49-F238E27FC236}">
                <a16:creationId xmlns:a16="http://schemas.microsoft.com/office/drawing/2014/main" id="{4EAFF3CF-E22F-4B05-AB78-32C5EFE64185}"/>
              </a:ext>
            </a:extLst>
          </p:cNvPr>
          <p:cNvSpPr/>
          <p:nvPr/>
        </p:nvSpPr>
        <p:spPr>
          <a:xfrm>
            <a:off x="-2859985" y="0"/>
            <a:ext cx="2664296" cy="720080"/>
          </a:xfrm>
          <a:prstGeom prst="rect">
            <a:avLst/>
          </a:prstGeom>
          <a:solidFill>
            <a:srgbClr val="FFFED9"/>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Presenter: Flo</a:t>
            </a:r>
            <a:endParaRPr lang="en-US">
              <a:solidFill>
                <a:schemeClr val="tx1"/>
              </a:solidFill>
            </a:endParaRPr>
          </a:p>
        </p:txBody>
      </p:sp>
      <p:sp>
        <p:nvSpPr>
          <p:cNvPr id="3" name="TextBox 2">
            <a:extLst>
              <a:ext uri="{FF2B5EF4-FFF2-40B4-BE49-F238E27FC236}">
                <a16:creationId xmlns:a16="http://schemas.microsoft.com/office/drawing/2014/main" id="{D097E395-ECB1-F090-0C57-8032D0F5F761}"/>
              </a:ext>
            </a:extLst>
          </p:cNvPr>
          <p:cNvSpPr txBox="1"/>
          <p:nvPr/>
        </p:nvSpPr>
        <p:spPr>
          <a:xfrm>
            <a:off x="2847703" y="-1828800"/>
            <a:ext cx="0" cy="0"/>
          </a:xfrm>
          <a:prstGeom prst="rect">
            <a:avLst/>
          </a:prstGeom>
          <a:noFill/>
          <a:ln w="12700">
            <a:noFill/>
            <a:miter lim="800000"/>
            <a:headEnd/>
            <a:tailEnd/>
          </a:ln>
          <a:effectLst/>
        </p:spPr>
        <p:txBody>
          <a:bodyPr vert="horz" wrap="none" lIns="0" tIns="0" rIns="0" bIns="0" numCol="1" rtlCol="0" anchor="t" anchorCtr="0" compatLnSpc="1">
            <a:prstTxWarp prst="textNoShape">
              <a:avLst/>
            </a:prstTxWarp>
            <a:noAutofit/>
          </a:bodyPr>
          <a:lstStyle/>
          <a:p>
            <a:pPr algn="ctr"/>
            <a:endParaRPr lang="en-GB" sz="1400">
              <a:latin typeface="Titillium Web" pitchFamily="2" charset="77"/>
            </a:endParaRPr>
          </a:p>
        </p:txBody>
      </p:sp>
      <p:sp>
        <p:nvSpPr>
          <p:cNvPr id="7" name="Rectangle 6">
            <a:extLst>
              <a:ext uri="{FF2B5EF4-FFF2-40B4-BE49-F238E27FC236}">
                <a16:creationId xmlns:a16="http://schemas.microsoft.com/office/drawing/2014/main" id="{406A5EF7-B268-AA60-1886-7F1AE121629C}"/>
              </a:ext>
            </a:extLst>
          </p:cNvPr>
          <p:cNvSpPr/>
          <p:nvPr/>
        </p:nvSpPr>
        <p:spPr>
          <a:xfrm>
            <a:off x="450000" y="4649873"/>
            <a:ext cx="8006216" cy="72007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tabLst>
                <a:tab pos="1106488" algn="l"/>
                <a:tab pos="1152525" algn="l"/>
              </a:tabLst>
            </a:pPr>
            <a:endParaRPr lang="en-GB" sz="1600">
              <a:solidFill>
                <a:schemeClr val="tx1"/>
              </a:solidFill>
              <a:latin typeface="Titillium Web"/>
            </a:endParaRPr>
          </a:p>
        </p:txBody>
      </p:sp>
      <p:sp>
        <p:nvSpPr>
          <p:cNvPr id="8" name="Rectangle 7">
            <a:extLst>
              <a:ext uri="{FF2B5EF4-FFF2-40B4-BE49-F238E27FC236}">
                <a16:creationId xmlns:a16="http://schemas.microsoft.com/office/drawing/2014/main" id="{75B13616-4524-396F-A90F-A6B066A5F0E8}"/>
              </a:ext>
            </a:extLst>
          </p:cNvPr>
          <p:cNvSpPr/>
          <p:nvPr/>
        </p:nvSpPr>
        <p:spPr>
          <a:xfrm>
            <a:off x="448155" y="2996953"/>
            <a:ext cx="5216591" cy="72007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Font typeface="Arial" panose="020B0604020202020204" pitchFamily="34" charset="0"/>
              <a:buChar char="•"/>
              <a:tabLst>
                <a:tab pos="1106488" algn="l"/>
                <a:tab pos="1152525" algn="l"/>
              </a:tabLst>
            </a:pPr>
            <a:r>
              <a:rPr lang="en-GB" sz="1600">
                <a:solidFill>
                  <a:schemeClr val="tx1"/>
                </a:solidFill>
                <a:latin typeface="Titillium Web"/>
              </a:rPr>
              <a:t>Re-sizing to 92x92 pixels</a:t>
            </a:r>
          </a:p>
          <a:p>
            <a:pPr marL="285750" indent="-285750">
              <a:spcAft>
                <a:spcPts val="600"/>
              </a:spcAft>
              <a:buFont typeface="Arial" panose="020B0604020202020204" pitchFamily="34" charset="0"/>
              <a:buChar char="•"/>
              <a:tabLst>
                <a:tab pos="1106488" algn="l"/>
                <a:tab pos="1152525" algn="l"/>
              </a:tabLst>
            </a:pPr>
            <a:r>
              <a:rPr lang="en-GB" sz="1600">
                <a:solidFill>
                  <a:schemeClr val="tx1"/>
                </a:solidFill>
                <a:latin typeface="Titillium Web"/>
              </a:rPr>
              <a:t>Random rotation of 5º</a:t>
            </a:r>
          </a:p>
          <a:p>
            <a:pPr marL="285750" indent="-285750">
              <a:spcAft>
                <a:spcPts val="600"/>
              </a:spcAft>
              <a:buFont typeface="Arial" panose="020B0604020202020204" pitchFamily="34" charset="0"/>
              <a:buChar char="•"/>
              <a:tabLst>
                <a:tab pos="1106488" algn="l"/>
                <a:tab pos="1152525" algn="l"/>
              </a:tabLst>
            </a:pPr>
            <a:r>
              <a:rPr lang="en-GB" sz="1600">
                <a:solidFill>
                  <a:schemeClr val="tx1"/>
                </a:solidFill>
                <a:latin typeface="Titillium Web"/>
              </a:rPr>
              <a:t>Random crop to 112 pixels and padding of 10pixels</a:t>
            </a:r>
          </a:p>
          <a:p>
            <a:pPr marL="285750" indent="-285750">
              <a:spcAft>
                <a:spcPts val="600"/>
              </a:spcAft>
              <a:buFont typeface="Arial" panose="020B0604020202020204" pitchFamily="34" charset="0"/>
              <a:buChar char="•"/>
              <a:tabLst>
                <a:tab pos="1106488" algn="l"/>
                <a:tab pos="1152525" algn="l"/>
              </a:tabLst>
            </a:pPr>
            <a:r>
              <a:rPr lang="en-GB" sz="1600">
                <a:solidFill>
                  <a:schemeClr val="tx1"/>
                </a:solidFill>
                <a:latin typeface="Titillium Web"/>
              </a:rPr>
              <a:t>Normalization </a:t>
            </a:r>
            <a:r>
              <a:rPr lang="en-GB" sz="1400">
                <a:solidFill>
                  <a:schemeClr val="tx1"/>
                </a:solidFill>
                <a:latin typeface="Titillium Web"/>
              </a:rPr>
              <a:t>([0.485, 0.456, 0.406], [0.229, 0.224, 0.225])</a:t>
            </a:r>
          </a:p>
        </p:txBody>
      </p:sp>
      <p:sp>
        <p:nvSpPr>
          <p:cNvPr id="9" name="Rectangle 8">
            <a:extLst>
              <a:ext uri="{FF2B5EF4-FFF2-40B4-BE49-F238E27FC236}">
                <a16:creationId xmlns:a16="http://schemas.microsoft.com/office/drawing/2014/main" id="{B000F776-07B2-9E03-3FDA-4F4583D2E1DA}"/>
              </a:ext>
            </a:extLst>
          </p:cNvPr>
          <p:cNvSpPr/>
          <p:nvPr/>
        </p:nvSpPr>
        <p:spPr>
          <a:xfrm>
            <a:off x="6479938" y="1622633"/>
            <a:ext cx="4938350" cy="72007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tabLst>
                <a:tab pos="1106488" algn="l"/>
                <a:tab pos="1152525" algn="l"/>
              </a:tabLst>
            </a:pPr>
            <a:endParaRPr lang="en-GB" sz="1600">
              <a:solidFill>
                <a:schemeClr val="tx1"/>
              </a:solidFill>
              <a:latin typeface="Titillium Web"/>
            </a:endParaRPr>
          </a:p>
        </p:txBody>
      </p:sp>
      <p:sp>
        <p:nvSpPr>
          <p:cNvPr id="10" name="Rectangle 9">
            <a:extLst>
              <a:ext uri="{FF2B5EF4-FFF2-40B4-BE49-F238E27FC236}">
                <a16:creationId xmlns:a16="http://schemas.microsoft.com/office/drawing/2014/main" id="{53148534-BDF2-D8AE-7C96-D1A7C2ACE927}"/>
              </a:ext>
            </a:extLst>
          </p:cNvPr>
          <p:cNvSpPr/>
          <p:nvPr/>
        </p:nvSpPr>
        <p:spPr>
          <a:xfrm>
            <a:off x="438103" y="5038329"/>
            <a:ext cx="4938350" cy="1631031"/>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tabLst>
                <a:tab pos="1106488" algn="l"/>
                <a:tab pos="1152525" algn="l"/>
              </a:tabLst>
            </a:pPr>
            <a:r>
              <a:rPr lang="en-GB" sz="1600" b="1">
                <a:solidFill>
                  <a:schemeClr val="tx1"/>
                </a:solidFill>
                <a:latin typeface="Titillium Web"/>
              </a:rPr>
              <a:t>To reduce overfitting, we tried:</a:t>
            </a:r>
          </a:p>
          <a:p>
            <a:pPr>
              <a:lnSpc>
                <a:spcPct val="120000"/>
              </a:lnSpc>
              <a:spcAft>
                <a:spcPts val="600"/>
              </a:spcAft>
              <a:tabLst>
                <a:tab pos="1106488" algn="l"/>
                <a:tab pos="1152525" algn="l"/>
              </a:tabLst>
            </a:pPr>
            <a:r>
              <a:rPr lang="en-GB" sz="1600">
                <a:solidFill>
                  <a:schemeClr val="tx1"/>
                </a:solidFill>
                <a:latin typeface="Titillium Web"/>
              </a:rPr>
              <a:t>Regularization L1/L2, further transformations (Flippling, ColorJitter etc.), freezing layers of pretrained model, Dropout layer (with probability 0.2 and 0.5)</a:t>
            </a:r>
          </a:p>
          <a:p>
            <a:pPr marL="285750" indent="-285750">
              <a:spcAft>
                <a:spcPts val="600"/>
              </a:spcAft>
              <a:buFont typeface="Arial" panose="020B0604020202020204" pitchFamily="34" charset="0"/>
              <a:buChar char="•"/>
              <a:tabLst>
                <a:tab pos="1106488" algn="l"/>
                <a:tab pos="1152525" algn="l"/>
              </a:tabLst>
            </a:pPr>
            <a:endParaRPr lang="en-GB" sz="1600">
              <a:solidFill>
                <a:schemeClr val="tx1"/>
              </a:solidFill>
              <a:latin typeface="Titillium Web"/>
            </a:endParaRPr>
          </a:p>
          <a:p>
            <a:pPr>
              <a:spcAft>
                <a:spcPts val="600"/>
              </a:spcAft>
              <a:tabLst>
                <a:tab pos="1106488" algn="l"/>
                <a:tab pos="1152525" algn="l"/>
              </a:tabLst>
            </a:pPr>
            <a:endParaRPr lang="en-GB" sz="1600">
              <a:solidFill>
                <a:schemeClr val="tx1"/>
              </a:solidFill>
              <a:latin typeface="Titillium Web"/>
            </a:endParaRPr>
          </a:p>
          <a:p>
            <a:pPr marL="285750" indent="-285750">
              <a:spcAft>
                <a:spcPts val="600"/>
              </a:spcAft>
              <a:buFont typeface="Arial" panose="020B0604020202020204" pitchFamily="34" charset="0"/>
              <a:buChar char="•"/>
              <a:tabLst>
                <a:tab pos="1106488" algn="l"/>
                <a:tab pos="1152525" algn="l"/>
              </a:tabLst>
            </a:pPr>
            <a:endParaRPr lang="en-GB" sz="1600">
              <a:solidFill>
                <a:schemeClr val="tx1"/>
              </a:solidFill>
              <a:latin typeface="Titillium Web"/>
            </a:endParaRPr>
          </a:p>
          <a:p>
            <a:pPr marL="285750" indent="-285750">
              <a:spcAft>
                <a:spcPts val="600"/>
              </a:spcAft>
              <a:buFont typeface="Arial" panose="020B0604020202020204" pitchFamily="34" charset="0"/>
              <a:buChar char="•"/>
              <a:tabLst>
                <a:tab pos="1106488" algn="l"/>
                <a:tab pos="1152525" algn="l"/>
              </a:tabLst>
            </a:pPr>
            <a:endParaRPr lang="en-GB" sz="1600">
              <a:solidFill>
                <a:schemeClr val="tx1"/>
              </a:solidFill>
              <a:latin typeface="Titillium Web"/>
            </a:endParaRPr>
          </a:p>
        </p:txBody>
      </p:sp>
      <p:sp>
        <p:nvSpPr>
          <p:cNvPr id="11" name="Rectangle 10">
            <a:extLst>
              <a:ext uri="{FF2B5EF4-FFF2-40B4-BE49-F238E27FC236}">
                <a16:creationId xmlns:a16="http://schemas.microsoft.com/office/drawing/2014/main" id="{2498C829-7E75-6FD5-7866-027DBF2561A1}"/>
              </a:ext>
            </a:extLst>
          </p:cNvPr>
          <p:cNvSpPr/>
          <p:nvPr/>
        </p:nvSpPr>
        <p:spPr>
          <a:xfrm>
            <a:off x="6491834" y="911760"/>
            <a:ext cx="5180154" cy="1441088"/>
          </a:xfrm>
          <a:prstGeom prst="rect">
            <a:avLst/>
          </a:prstGeom>
          <a:solidFill>
            <a:srgbClr val="00802F"/>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spcAft>
                <a:spcPts val="600"/>
              </a:spcAft>
            </a:pPr>
            <a:r>
              <a:rPr lang="en-GB" sz="1870" b="1" err="1"/>
              <a:t>ResNeXt</a:t>
            </a:r>
            <a:r>
              <a:rPr lang="en-GB" sz="1870" b="1"/>
              <a:t> for better generalizability:</a:t>
            </a:r>
            <a:endParaRPr lang="en-GB"/>
          </a:p>
          <a:p>
            <a:pPr>
              <a:lnSpc>
                <a:spcPct val="120000"/>
              </a:lnSpc>
            </a:pPr>
            <a:r>
              <a:rPr lang="en-GB" sz="1600">
                <a:solidFill>
                  <a:schemeClr val="bg1"/>
                </a:solidFill>
                <a:latin typeface="Titillium Web"/>
              </a:rPr>
              <a:t>Increased capacity of network to capture broader feature variations through cardinality dimension. </a:t>
            </a:r>
            <a:endParaRPr lang="en-GB" sz="1400">
              <a:solidFill>
                <a:schemeClr val="bg1"/>
              </a:solidFill>
              <a:latin typeface="Titillium Web"/>
            </a:endParaRPr>
          </a:p>
        </p:txBody>
      </p:sp>
      <p:sp>
        <p:nvSpPr>
          <p:cNvPr id="12" name="TextBox 11">
            <a:extLst>
              <a:ext uri="{FF2B5EF4-FFF2-40B4-BE49-F238E27FC236}">
                <a16:creationId xmlns:a16="http://schemas.microsoft.com/office/drawing/2014/main" id="{180329CC-093F-8D7D-4AE1-6C3A11665543}"/>
              </a:ext>
            </a:extLst>
          </p:cNvPr>
          <p:cNvSpPr txBox="1"/>
          <p:nvPr/>
        </p:nvSpPr>
        <p:spPr>
          <a:xfrm>
            <a:off x="7367451" y="-1828800"/>
            <a:ext cx="0" cy="0"/>
          </a:xfrm>
          <a:prstGeom prst="rect">
            <a:avLst/>
          </a:prstGeom>
          <a:noFill/>
          <a:ln w="12700">
            <a:noFill/>
            <a:miter lim="800000"/>
            <a:headEnd/>
            <a:tailEnd/>
          </a:ln>
          <a:effectLst/>
        </p:spPr>
        <p:txBody>
          <a:bodyPr vert="horz" wrap="none" lIns="0" tIns="0" rIns="0" bIns="0" numCol="1" rtlCol="0" anchor="t" anchorCtr="0" compatLnSpc="1">
            <a:prstTxWarp prst="textNoShape">
              <a:avLst/>
            </a:prstTxWarp>
            <a:noAutofit/>
          </a:bodyPr>
          <a:lstStyle/>
          <a:p>
            <a:pPr algn="ctr"/>
            <a:endParaRPr lang="en-GB" sz="1400">
              <a:latin typeface="Titillium Web" pitchFamily="2" charset="77"/>
            </a:endParaRPr>
          </a:p>
        </p:txBody>
      </p:sp>
      <p:pic>
        <p:nvPicPr>
          <p:cNvPr id="14" name="Picture 13" descr="A picture containing text, screenshot, diagram, font&#10;&#10;Description automatically generated">
            <a:extLst>
              <a:ext uri="{FF2B5EF4-FFF2-40B4-BE49-F238E27FC236}">
                <a16:creationId xmlns:a16="http://schemas.microsoft.com/office/drawing/2014/main" id="{B5A59844-871B-DBE3-2F9C-B655C599FE36}"/>
              </a:ext>
            </a:extLst>
          </p:cNvPr>
          <p:cNvPicPr>
            <a:picLocks noChangeAspect="1"/>
          </p:cNvPicPr>
          <p:nvPr/>
        </p:nvPicPr>
        <p:blipFill rotWithShape="1">
          <a:blip r:embed="rId7"/>
          <a:srcRect t="5378"/>
          <a:stretch/>
        </p:blipFill>
        <p:spPr>
          <a:xfrm>
            <a:off x="6672858" y="2564105"/>
            <a:ext cx="4922517" cy="3391467"/>
          </a:xfrm>
          <a:prstGeom prst="rect">
            <a:avLst/>
          </a:prstGeom>
        </p:spPr>
      </p:pic>
      <p:sp>
        <p:nvSpPr>
          <p:cNvPr id="15" name="Rectangle 14">
            <a:extLst>
              <a:ext uri="{FF2B5EF4-FFF2-40B4-BE49-F238E27FC236}">
                <a16:creationId xmlns:a16="http://schemas.microsoft.com/office/drawing/2014/main" id="{09EE1DC4-F396-4DAE-78A6-D61CE194B25B}"/>
              </a:ext>
            </a:extLst>
          </p:cNvPr>
          <p:cNvSpPr/>
          <p:nvPr/>
        </p:nvSpPr>
        <p:spPr>
          <a:xfrm>
            <a:off x="5289751" y="5703867"/>
            <a:ext cx="3952556" cy="540000"/>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CH" b="1">
                <a:solidFill>
                  <a:srgbClr val="00802F"/>
                </a:solidFill>
              </a:rPr>
              <a:t>Best Score:</a:t>
            </a:r>
            <a:endParaRPr lang="en-US" b="1">
              <a:solidFill>
                <a:srgbClr val="00802F"/>
              </a:solidFill>
            </a:endParaRPr>
          </a:p>
        </p:txBody>
      </p:sp>
      <p:sp>
        <p:nvSpPr>
          <p:cNvPr id="16" name="TextBox 15">
            <a:extLst>
              <a:ext uri="{FF2B5EF4-FFF2-40B4-BE49-F238E27FC236}">
                <a16:creationId xmlns:a16="http://schemas.microsoft.com/office/drawing/2014/main" id="{D877AF46-0D82-61D3-A7A6-E52FCE0D9C73}"/>
              </a:ext>
            </a:extLst>
          </p:cNvPr>
          <p:cNvSpPr txBox="1"/>
          <p:nvPr/>
        </p:nvSpPr>
        <p:spPr>
          <a:xfrm>
            <a:off x="11671988" y="2572262"/>
            <a:ext cx="325302" cy="3373978"/>
          </a:xfrm>
          <a:prstGeom prst="rect">
            <a:avLst/>
          </a:prstGeom>
          <a:noFill/>
          <a:ln w="12700">
            <a:noFill/>
            <a:miter lim="800000"/>
            <a:headEnd/>
            <a:tailEnd/>
          </a:ln>
          <a:effectLst/>
        </p:spPr>
        <p:txBody>
          <a:bodyPr vert="vert270" wrap="square" lIns="0" tIns="0" rIns="0" bIns="0" numCol="1" rtlCol="0" anchor="t" anchorCtr="0" compatLnSpc="1">
            <a:prstTxWarp prst="textNoShape">
              <a:avLst/>
            </a:prstTxWarp>
            <a:noAutofit/>
          </a:bodyPr>
          <a:lstStyle/>
          <a:p>
            <a:pPr algn="ctr"/>
            <a:endParaRPr lang="en-GB" sz="1400">
              <a:latin typeface="Titillium Web" pitchFamily="2" charset="77"/>
            </a:endParaRPr>
          </a:p>
        </p:txBody>
      </p:sp>
      <p:sp>
        <p:nvSpPr>
          <p:cNvPr id="32" name="TextBox 31">
            <a:extLst>
              <a:ext uri="{FF2B5EF4-FFF2-40B4-BE49-F238E27FC236}">
                <a16:creationId xmlns:a16="http://schemas.microsoft.com/office/drawing/2014/main" id="{5A3560D7-8EC8-0BAA-D50E-E6476A053F3D}"/>
              </a:ext>
            </a:extLst>
          </p:cNvPr>
          <p:cNvSpPr txBox="1"/>
          <p:nvPr/>
        </p:nvSpPr>
        <p:spPr>
          <a:xfrm rot="5400000" flipH="1">
            <a:off x="7506464" y="1033040"/>
            <a:ext cx="132119" cy="3018775"/>
          </a:xfrm>
          <a:prstGeom prst="rect">
            <a:avLst/>
          </a:prstGeom>
          <a:noFill/>
          <a:ln w="12700">
            <a:noFill/>
            <a:miter lim="800000"/>
            <a:headEnd/>
            <a:tailEnd/>
          </a:ln>
          <a:effectLst/>
        </p:spPr>
        <p:txBody>
          <a:bodyPr vert="vert270" wrap="square" lIns="0" tIns="0" rIns="0" bIns="0" numCol="1" rtlCol="0" anchor="t" anchorCtr="0" compatLnSpc="1">
            <a:prstTxWarp prst="textNoShape">
              <a:avLst/>
            </a:prstTxWarp>
            <a:noAutofit/>
          </a:bodyPr>
          <a:lstStyle/>
          <a:p>
            <a:pPr algn="ctr"/>
            <a:r>
              <a:rPr lang="en-GB" sz="1400">
                <a:latin typeface="Titillium Web" pitchFamily="2" charset="77"/>
              </a:rPr>
              <a:t>Image from Wu et al. (2020)</a:t>
            </a:r>
          </a:p>
        </p:txBody>
      </p:sp>
      <p:sp>
        <p:nvSpPr>
          <p:cNvPr id="23" name="TextBox 22">
            <a:extLst>
              <a:ext uri="{FF2B5EF4-FFF2-40B4-BE49-F238E27FC236}">
                <a16:creationId xmlns:a16="http://schemas.microsoft.com/office/drawing/2014/main" id="{B734F750-1D79-7C90-0AEA-CDFACAE54F54}"/>
              </a:ext>
            </a:extLst>
          </p:cNvPr>
          <p:cNvSpPr txBox="1"/>
          <p:nvPr/>
        </p:nvSpPr>
        <p:spPr>
          <a:xfrm>
            <a:off x="3868274" y="6324999"/>
            <a:ext cx="7801002" cy="103632"/>
          </a:xfrm>
          <a:prstGeom prst="rect">
            <a:avLst/>
          </a:prstGeom>
          <a:noFill/>
          <a:ln w="12700">
            <a:noFill/>
            <a:miter lim="800000"/>
            <a:headEnd/>
            <a:tailEnd/>
          </a:ln>
          <a:effectLst/>
        </p:spPr>
        <p:txBody>
          <a:bodyPr vert="horz" wrap="square" lIns="0" tIns="0" rIns="0" bIns="0" numCol="1" rtlCol="0" anchor="t" anchorCtr="0" compatLnSpc="1">
            <a:prstTxWarp prst="textNoShape">
              <a:avLst/>
            </a:prstTxWarp>
            <a:noAutofit/>
          </a:bodyPr>
          <a:lstStyle/>
          <a:p>
            <a:pPr algn="r"/>
            <a:r>
              <a:rPr lang="en-GB" sz="1400" i="1"/>
              <a:t>Aggregated Residual Transformations for Deep Neural Network </a:t>
            </a:r>
            <a:r>
              <a:rPr lang="en-GB" sz="1400"/>
              <a:t>(</a:t>
            </a:r>
            <a:r>
              <a:rPr lang="en-GB" sz="1400" err="1"/>
              <a:t>Xie</a:t>
            </a:r>
            <a:r>
              <a:rPr lang="en-GB" sz="1400"/>
              <a:t> et al., 2017)</a:t>
            </a:r>
            <a:endParaRPr lang="en-GB" sz="1400">
              <a:latin typeface="Titillium Web" pitchFamily="2" charset="77"/>
            </a:endParaRPr>
          </a:p>
        </p:txBody>
      </p:sp>
    </p:spTree>
    <p:extLst>
      <p:ext uri="{BB962C8B-B14F-4D97-AF65-F5344CB8AC3E}">
        <p14:creationId xmlns:p14="http://schemas.microsoft.com/office/powerpoint/2010/main" val="758632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500" fill="hold"/>
                                        <p:tgtEl>
                                          <p:spTgt spid="29"/>
                                        </p:tgtEl>
                                        <p:attrNameLst>
                                          <p:attrName>ppt_x</p:attrName>
                                        </p:attrNameLst>
                                      </p:cBhvr>
                                      <p:tavLst>
                                        <p:tav tm="0">
                                          <p:val>
                                            <p:strVal val="#ppt_x"/>
                                          </p:val>
                                        </p:tav>
                                        <p:tav tm="100000">
                                          <p:val>
                                            <p:strVal val="#ppt_x"/>
                                          </p:val>
                                        </p:tav>
                                      </p:tavLst>
                                    </p:anim>
                                    <p:anim calcmode="lin" valueType="num">
                                      <p:cBhvr additive="base">
                                        <p:cTn id="12"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 calcmode="lin" valueType="num">
                                      <p:cBhvr additive="base">
                                        <p:cTn id="17" dur="500" fill="hold"/>
                                        <p:tgtEl>
                                          <p:spTgt spid="20"/>
                                        </p:tgtEl>
                                        <p:attrNameLst>
                                          <p:attrName>ppt_x</p:attrName>
                                        </p:attrNameLst>
                                      </p:cBhvr>
                                      <p:tavLst>
                                        <p:tav tm="0">
                                          <p:val>
                                            <p:strVal val="#ppt_x"/>
                                          </p:val>
                                        </p:tav>
                                        <p:tav tm="100000">
                                          <p:val>
                                            <p:strVal val="#ppt_x"/>
                                          </p:val>
                                        </p:tav>
                                      </p:tavLst>
                                    </p:anim>
                                    <p:anim calcmode="lin" valueType="num">
                                      <p:cBhvr additive="base">
                                        <p:cTn id="18" dur="500" fill="hold"/>
                                        <p:tgtEl>
                                          <p:spTgt spid="20"/>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500" fill="hold"/>
                                        <p:tgtEl>
                                          <p:spTgt spid="8"/>
                                        </p:tgtEl>
                                        <p:attrNameLst>
                                          <p:attrName>ppt_x</p:attrName>
                                        </p:attrNameLst>
                                      </p:cBhvr>
                                      <p:tavLst>
                                        <p:tav tm="0">
                                          <p:val>
                                            <p:strVal val="#ppt_x"/>
                                          </p:val>
                                        </p:tav>
                                        <p:tav tm="100000">
                                          <p:val>
                                            <p:strVal val="#ppt_x"/>
                                          </p:val>
                                        </p:tav>
                                      </p:tavLst>
                                    </p:anim>
                                    <p:anim calcmode="lin" valueType="num">
                                      <p:cBhvr additive="base">
                                        <p:cTn id="2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anim calcmode="lin" valueType="num">
                                      <p:cBhvr additive="base">
                                        <p:cTn id="27" dur="500" fill="hold"/>
                                        <p:tgtEl>
                                          <p:spTgt spid="26"/>
                                        </p:tgtEl>
                                        <p:attrNameLst>
                                          <p:attrName>ppt_x</p:attrName>
                                        </p:attrNameLst>
                                      </p:cBhvr>
                                      <p:tavLst>
                                        <p:tav tm="0">
                                          <p:val>
                                            <p:strVal val="#ppt_x"/>
                                          </p:val>
                                        </p:tav>
                                        <p:tav tm="100000">
                                          <p:val>
                                            <p:strVal val="#ppt_x"/>
                                          </p:val>
                                        </p:tav>
                                      </p:tavLst>
                                    </p:anim>
                                    <p:anim calcmode="lin" valueType="num">
                                      <p:cBhvr additive="base">
                                        <p:cTn id="28" dur="500" fill="hold"/>
                                        <p:tgtEl>
                                          <p:spTgt spid="26"/>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ppt_x"/>
                                          </p:val>
                                        </p:tav>
                                        <p:tav tm="100000">
                                          <p:val>
                                            <p:strVal val="#ppt_x"/>
                                          </p:val>
                                        </p:tav>
                                      </p:tavLst>
                                    </p:anim>
                                    <p:anim calcmode="lin" valueType="num">
                                      <p:cBhvr additive="base">
                                        <p:cTn id="3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500" fill="hold"/>
                                        <p:tgtEl>
                                          <p:spTgt spid="11"/>
                                        </p:tgtEl>
                                        <p:attrNameLst>
                                          <p:attrName>ppt_x</p:attrName>
                                        </p:attrNameLst>
                                      </p:cBhvr>
                                      <p:tavLst>
                                        <p:tav tm="0">
                                          <p:val>
                                            <p:strVal val="#ppt_x"/>
                                          </p:val>
                                        </p:tav>
                                        <p:tav tm="100000">
                                          <p:val>
                                            <p:strVal val="#ppt_x"/>
                                          </p:val>
                                        </p:tav>
                                      </p:tavLst>
                                    </p:anim>
                                    <p:anim calcmode="lin" valueType="num">
                                      <p:cBhvr additive="base">
                                        <p:cTn id="38" dur="500" fill="hold"/>
                                        <p:tgtEl>
                                          <p:spTgt spid="11"/>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anim calcmode="lin" valueType="num">
                                      <p:cBhvr additive="base">
                                        <p:cTn id="41" dur="500" fill="hold"/>
                                        <p:tgtEl>
                                          <p:spTgt spid="32"/>
                                        </p:tgtEl>
                                        <p:attrNameLst>
                                          <p:attrName>ppt_x</p:attrName>
                                        </p:attrNameLst>
                                      </p:cBhvr>
                                      <p:tavLst>
                                        <p:tav tm="0">
                                          <p:val>
                                            <p:strVal val="#ppt_x"/>
                                          </p:val>
                                        </p:tav>
                                        <p:tav tm="100000">
                                          <p:val>
                                            <p:strVal val="#ppt_x"/>
                                          </p:val>
                                        </p:tav>
                                      </p:tavLst>
                                    </p:anim>
                                    <p:anim calcmode="lin" valueType="num">
                                      <p:cBhvr additive="base">
                                        <p:cTn id="42" dur="500" fill="hold"/>
                                        <p:tgtEl>
                                          <p:spTgt spid="32"/>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 calcmode="lin" valueType="num">
                                      <p:cBhvr additive="base">
                                        <p:cTn id="45" dur="500" fill="hold"/>
                                        <p:tgtEl>
                                          <p:spTgt spid="14"/>
                                        </p:tgtEl>
                                        <p:attrNameLst>
                                          <p:attrName>ppt_x</p:attrName>
                                        </p:attrNameLst>
                                      </p:cBhvr>
                                      <p:tavLst>
                                        <p:tav tm="0">
                                          <p:val>
                                            <p:strVal val="#ppt_x"/>
                                          </p:val>
                                        </p:tav>
                                        <p:tav tm="100000">
                                          <p:val>
                                            <p:strVal val="#ppt_x"/>
                                          </p:val>
                                        </p:tav>
                                      </p:tavLst>
                                    </p:anim>
                                    <p:anim calcmode="lin" valueType="num">
                                      <p:cBhvr additive="base">
                                        <p:cTn id="46" dur="500" fill="hold"/>
                                        <p:tgtEl>
                                          <p:spTgt spid="14"/>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500" fill="hold"/>
                                        <p:tgtEl>
                                          <p:spTgt spid="15"/>
                                        </p:tgtEl>
                                        <p:attrNameLst>
                                          <p:attrName>ppt_x</p:attrName>
                                        </p:attrNameLst>
                                      </p:cBhvr>
                                      <p:tavLst>
                                        <p:tav tm="0">
                                          <p:val>
                                            <p:strVal val="#ppt_x"/>
                                          </p:val>
                                        </p:tav>
                                        <p:tav tm="100000">
                                          <p:val>
                                            <p:strVal val="#ppt_x"/>
                                          </p:val>
                                        </p:tav>
                                      </p:tavLst>
                                    </p:anim>
                                    <p:anim calcmode="lin" valueType="num">
                                      <p:cBhvr additive="base">
                                        <p:cTn id="50" dur="500" fill="hold"/>
                                        <p:tgtEl>
                                          <p:spTgt spid="15"/>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anim calcmode="lin" valueType="num">
                                      <p:cBhvr additive="base">
                                        <p:cTn id="53" dur="500" fill="hold"/>
                                        <p:tgtEl>
                                          <p:spTgt spid="30"/>
                                        </p:tgtEl>
                                        <p:attrNameLst>
                                          <p:attrName>ppt_x</p:attrName>
                                        </p:attrNameLst>
                                      </p:cBhvr>
                                      <p:tavLst>
                                        <p:tav tm="0">
                                          <p:val>
                                            <p:strVal val="#ppt_x"/>
                                          </p:val>
                                        </p:tav>
                                        <p:tav tm="100000">
                                          <p:val>
                                            <p:strVal val="#ppt_x"/>
                                          </p:val>
                                        </p:tav>
                                      </p:tavLst>
                                    </p:anim>
                                    <p:anim calcmode="lin" valueType="num">
                                      <p:cBhvr additive="base">
                                        <p:cTn id="54"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8" grpId="0"/>
      <p:bldP spid="10" grpId="0"/>
      <p:bldP spid="11" grpId="0" animBg="1"/>
      <p:bldP spid="15" grpId="0"/>
      <p:bldP spid="3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2B1C3B6-99FE-4FF1-AD26-049155779C08}"/>
              </a:ext>
            </a:extLst>
          </p:cNvPr>
          <p:cNvGraphicFramePr>
            <a:graphicFrameLocks noChangeAspect="1"/>
          </p:cNvGraphicFramePr>
          <p:nvPr>
            <p:custDataLst>
              <p:tags r:id="rId2"/>
            </p:custDataLst>
            <p:extLst>
              <p:ext uri="{D42A27DB-BD31-4B8C-83A1-F6EECF244321}">
                <p14:modId xmlns:p14="http://schemas.microsoft.com/office/powerpoint/2010/main" val="287501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5" imgW="592" imgH="591" progId="TCLayout.ActiveDocument.1">
                  <p:embed/>
                </p:oleObj>
              </mc:Choice>
              <mc:Fallback>
                <p:oleObj name="think-cell Slide" r:id="rId5" imgW="592" imgH="591" progId="TCLayout.ActiveDocument.1">
                  <p:embed/>
                  <p:pic>
                    <p:nvPicPr>
                      <p:cNvPr id="7" name="think-cell data - do not delete" hidden="1">
                        <a:extLst>
                          <a:ext uri="{FF2B5EF4-FFF2-40B4-BE49-F238E27FC236}">
                            <a16:creationId xmlns:a16="http://schemas.microsoft.com/office/drawing/2014/main" id="{72B1C3B6-99FE-4FF1-AD26-049155779C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13D33E-DED5-44C3-815A-0F4CF91BF99E}"/>
              </a:ext>
            </a:extLst>
          </p:cNvPr>
          <p:cNvSpPr>
            <a:spLocks noGrp="1"/>
          </p:cNvSpPr>
          <p:nvPr>
            <p:ph type="title"/>
          </p:nvPr>
        </p:nvSpPr>
        <p:spPr/>
        <p:txBody>
          <a:bodyPr vert="horz"/>
          <a:lstStyle/>
          <a:p>
            <a:r>
              <a:rPr lang="de-CH"/>
              <a:t>Vision Transformer</a:t>
            </a:r>
            <a:endParaRPr lang="en-US"/>
          </a:p>
        </p:txBody>
      </p:sp>
      <p:sp>
        <p:nvSpPr>
          <p:cNvPr id="4" name="Slide Number Placeholder 3">
            <a:extLst>
              <a:ext uri="{FF2B5EF4-FFF2-40B4-BE49-F238E27FC236}">
                <a16:creationId xmlns:a16="http://schemas.microsoft.com/office/drawing/2014/main" id="{04B39794-71F2-47C9-ACDD-58AD77760880}"/>
              </a:ext>
            </a:extLst>
          </p:cNvPr>
          <p:cNvSpPr>
            <a:spLocks noGrp="1"/>
          </p:cNvSpPr>
          <p:nvPr>
            <p:ph type="sldNum" sz="quarter" idx="4"/>
          </p:nvPr>
        </p:nvSpPr>
        <p:spPr/>
        <p:txBody>
          <a:bodyPr/>
          <a:lstStyle/>
          <a:p>
            <a:fld id="{1FF5481D-800C-4F34-B3D6-C18BC0A4FD2D}" type="slidenum">
              <a:rPr lang="de-CH" smtClean="0"/>
              <a:pPr/>
              <a:t>5</a:t>
            </a:fld>
            <a:endParaRPr lang="de-CH"/>
          </a:p>
        </p:txBody>
      </p:sp>
      <p:sp>
        <p:nvSpPr>
          <p:cNvPr id="5" name="Footer Placeholder 4">
            <a:extLst>
              <a:ext uri="{FF2B5EF4-FFF2-40B4-BE49-F238E27FC236}">
                <a16:creationId xmlns:a16="http://schemas.microsoft.com/office/drawing/2014/main" id="{A761E802-4909-4F4C-86C3-69C2A9F83A92}"/>
              </a:ext>
            </a:extLst>
          </p:cNvPr>
          <p:cNvSpPr>
            <a:spLocks noGrp="1"/>
          </p:cNvSpPr>
          <p:nvPr>
            <p:ph type="ftr" sz="quarter" idx="3"/>
          </p:nvPr>
        </p:nvSpPr>
        <p:spPr/>
        <p:txBody>
          <a:bodyPr/>
          <a:lstStyle/>
          <a:p>
            <a:r>
              <a:rPr lang="en-US" noProof="0"/>
              <a:t>Prof. Damian </a:t>
            </a:r>
            <a:r>
              <a:rPr lang="en-US" noProof="0" err="1"/>
              <a:t>Borth</a:t>
            </a:r>
            <a:r>
              <a:rPr lang="en-US" noProof="0"/>
              <a:t> - Artificial Intelligence &amp; Machine Learning [AIML]</a:t>
            </a:r>
          </a:p>
        </p:txBody>
      </p:sp>
      <p:grpSp>
        <p:nvGrpSpPr>
          <p:cNvPr id="19" name="Group 18">
            <a:extLst>
              <a:ext uri="{FF2B5EF4-FFF2-40B4-BE49-F238E27FC236}">
                <a16:creationId xmlns:a16="http://schemas.microsoft.com/office/drawing/2014/main" id="{122E5371-5750-790A-B19B-1F35134CCCC3}"/>
              </a:ext>
            </a:extLst>
          </p:cNvPr>
          <p:cNvGrpSpPr/>
          <p:nvPr/>
        </p:nvGrpSpPr>
        <p:grpSpPr>
          <a:xfrm>
            <a:off x="5376714" y="1039111"/>
            <a:ext cx="6421167" cy="5400600"/>
            <a:chOff x="5376714" y="980728"/>
            <a:chExt cx="6421167" cy="5400600"/>
          </a:xfrm>
        </p:grpSpPr>
        <p:pic>
          <p:nvPicPr>
            <p:cNvPr id="18" name="Picture 17" descr="A picture containing screenshot, text, diagram, line&#10;&#10;Description automatically generated">
              <a:extLst>
                <a:ext uri="{FF2B5EF4-FFF2-40B4-BE49-F238E27FC236}">
                  <a16:creationId xmlns:a16="http://schemas.microsoft.com/office/drawing/2014/main" id="{52332B16-9ADB-8E34-C21E-1C7E90D38E0E}"/>
                </a:ext>
              </a:extLst>
            </p:cNvPr>
            <p:cNvPicPr>
              <a:picLocks noChangeAspect="1"/>
            </p:cNvPicPr>
            <p:nvPr/>
          </p:nvPicPr>
          <p:blipFill rotWithShape="1">
            <a:blip r:embed="rId7"/>
            <a:srcRect r="4882"/>
            <a:stretch/>
          </p:blipFill>
          <p:spPr>
            <a:xfrm>
              <a:off x="5376714" y="980728"/>
              <a:ext cx="6421167" cy="5400600"/>
            </a:xfrm>
            <a:prstGeom prst="rect">
              <a:avLst/>
            </a:prstGeom>
          </p:spPr>
        </p:pic>
        <p:sp>
          <p:nvSpPr>
            <p:cNvPr id="6" name="Oval 5">
              <a:extLst>
                <a:ext uri="{FF2B5EF4-FFF2-40B4-BE49-F238E27FC236}">
                  <a16:creationId xmlns:a16="http://schemas.microsoft.com/office/drawing/2014/main" id="{136CAF8E-40DE-3826-B28A-971F0A2D572C}"/>
                </a:ext>
              </a:extLst>
            </p:cNvPr>
            <p:cNvSpPr/>
            <p:nvPr/>
          </p:nvSpPr>
          <p:spPr>
            <a:xfrm>
              <a:off x="6744866" y="4293096"/>
              <a:ext cx="432048" cy="432048"/>
            </a:xfrm>
            <a:prstGeom prst="ellipse">
              <a:avLst/>
            </a:prstGeom>
            <a:noFill/>
            <a:ln>
              <a:solidFill>
                <a:srgbClr val="C0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
          <p:nvSpPr>
            <p:cNvPr id="8" name="Rectangle 7">
              <a:extLst>
                <a:ext uri="{FF2B5EF4-FFF2-40B4-BE49-F238E27FC236}">
                  <a16:creationId xmlns:a16="http://schemas.microsoft.com/office/drawing/2014/main" id="{148A804B-D517-2C3B-2412-DFA3E489F5EB}"/>
                </a:ext>
              </a:extLst>
            </p:cNvPr>
            <p:cNvSpPr/>
            <p:nvPr/>
          </p:nvSpPr>
          <p:spPr>
            <a:xfrm>
              <a:off x="6744866" y="3095928"/>
              <a:ext cx="432048" cy="432048"/>
            </a:xfrm>
            <a:prstGeom prst="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11" name="Rectangle 10">
              <a:extLst>
                <a:ext uri="{FF2B5EF4-FFF2-40B4-BE49-F238E27FC236}">
                  <a16:creationId xmlns:a16="http://schemas.microsoft.com/office/drawing/2014/main" id="{CE67962E-3122-11BA-3880-0234650BA76F}"/>
                </a:ext>
              </a:extLst>
            </p:cNvPr>
            <p:cNvSpPr/>
            <p:nvPr/>
          </p:nvSpPr>
          <p:spPr>
            <a:xfrm>
              <a:off x="9265146" y="1268760"/>
              <a:ext cx="432048" cy="432048"/>
            </a:xfrm>
            <a:prstGeom prst="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13" name="Rectangle 12">
              <a:extLst>
                <a:ext uri="{FF2B5EF4-FFF2-40B4-BE49-F238E27FC236}">
                  <a16:creationId xmlns:a16="http://schemas.microsoft.com/office/drawing/2014/main" id="{BA79EA3F-B102-1D45-3C00-347F78FE19D3}"/>
                </a:ext>
              </a:extLst>
            </p:cNvPr>
            <p:cNvSpPr/>
            <p:nvPr/>
          </p:nvSpPr>
          <p:spPr>
            <a:xfrm>
              <a:off x="7574216" y="3529548"/>
              <a:ext cx="432048" cy="432048"/>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
          <p:nvSpPr>
            <p:cNvPr id="14" name="Rectangle 13">
              <a:extLst>
                <a:ext uri="{FF2B5EF4-FFF2-40B4-BE49-F238E27FC236}">
                  <a16:creationId xmlns:a16="http://schemas.microsoft.com/office/drawing/2014/main" id="{C5CF6376-442B-B921-47AB-B3B15F4F91F1}"/>
                </a:ext>
              </a:extLst>
            </p:cNvPr>
            <p:cNvSpPr/>
            <p:nvPr/>
          </p:nvSpPr>
          <p:spPr>
            <a:xfrm>
              <a:off x="9265146" y="1988840"/>
              <a:ext cx="432048" cy="432048"/>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
          <p:nvSpPr>
            <p:cNvPr id="15" name="Oval 14">
              <a:extLst>
                <a:ext uri="{FF2B5EF4-FFF2-40B4-BE49-F238E27FC236}">
                  <a16:creationId xmlns:a16="http://schemas.microsoft.com/office/drawing/2014/main" id="{FFB1EA8C-B4FB-9694-47A6-46DDF9E0E1E7}"/>
                </a:ext>
              </a:extLst>
            </p:cNvPr>
            <p:cNvSpPr/>
            <p:nvPr/>
          </p:nvSpPr>
          <p:spPr>
            <a:xfrm>
              <a:off x="8008582" y="4305794"/>
              <a:ext cx="432048" cy="432048"/>
            </a:xfrm>
            <a:prstGeom prst="ellipse">
              <a:avLst/>
            </a:prstGeom>
            <a:noFill/>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
          <p:nvSpPr>
            <p:cNvPr id="16" name="Oval 15">
              <a:extLst>
                <a:ext uri="{FF2B5EF4-FFF2-40B4-BE49-F238E27FC236}">
                  <a16:creationId xmlns:a16="http://schemas.microsoft.com/office/drawing/2014/main" id="{53AD6B1C-D880-6A10-FED8-4F6F1A3F3670}"/>
                </a:ext>
              </a:extLst>
            </p:cNvPr>
            <p:cNvSpPr/>
            <p:nvPr/>
          </p:nvSpPr>
          <p:spPr>
            <a:xfrm>
              <a:off x="6744866" y="3529548"/>
              <a:ext cx="432048" cy="432048"/>
            </a:xfrm>
            <a:prstGeom prst="ellipse">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GB"/>
            </a:p>
          </p:txBody>
        </p:sp>
      </p:grpSp>
      <p:sp>
        <p:nvSpPr>
          <p:cNvPr id="17" name="Rectangle 16">
            <a:extLst>
              <a:ext uri="{FF2B5EF4-FFF2-40B4-BE49-F238E27FC236}">
                <a16:creationId xmlns:a16="http://schemas.microsoft.com/office/drawing/2014/main" id="{C9DA98F7-08D6-40DF-A24E-B77A1101C65E}"/>
              </a:ext>
            </a:extLst>
          </p:cNvPr>
          <p:cNvSpPr/>
          <p:nvPr/>
        </p:nvSpPr>
        <p:spPr>
          <a:xfrm>
            <a:off x="-2859985" y="0"/>
            <a:ext cx="2664296" cy="720080"/>
          </a:xfrm>
          <a:prstGeom prst="rect">
            <a:avLst/>
          </a:prstGeom>
          <a:solidFill>
            <a:srgbClr val="FFFED9"/>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Presenter: Flo</a:t>
            </a:r>
            <a:endParaRPr lang="en-US">
              <a:solidFill>
                <a:schemeClr val="tx1"/>
              </a:solidFill>
            </a:endParaRPr>
          </a:p>
        </p:txBody>
      </p:sp>
      <p:grpSp>
        <p:nvGrpSpPr>
          <p:cNvPr id="3" name="Group 2">
            <a:extLst>
              <a:ext uri="{FF2B5EF4-FFF2-40B4-BE49-F238E27FC236}">
                <a16:creationId xmlns:a16="http://schemas.microsoft.com/office/drawing/2014/main" id="{AE9D93F1-86CD-1952-A0BD-78BE8DA7A77F}"/>
              </a:ext>
            </a:extLst>
          </p:cNvPr>
          <p:cNvGrpSpPr/>
          <p:nvPr/>
        </p:nvGrpSpPr>
        <p:grpSpPr>
          <a:xfrm>
            <a:off x="450000" y="793792"/>
            <a:ext cx="3952556" cy="648011"/>
            <a:chOff x="3240000" y="1336323"/>
            <a:chExt cx="4296954" cy="648011"/>
          </a:xfrm>
        </p:grpSpPr>
        <p:sp>
          <p:nvSpPr>
            <p:cNvPr id="9" name="Rectangle 8">
              <a:extLst>
                <a:ext uri="{FF2B5EF4-FFF2-40B4-BE49-F238E27FC236}">
                  <a16:creationId xmlns:a16="http://schemas.microsoft.com/office/drawing/2014/main" id="{07A5DDB9-8868-EC57-D9AB-A06C91552EBB}"/>
                </a:ext>
              </a:extLst>
            </p:cNvPr>
            <p:cNvSpPr/>
            <p:nvPr/>
          </p:nvSpPr>
          <p:spPr>
            <a:xfrm>
              <a:off x="3240000" y="1336323"/>
              <a:ext cx="4296954" cy="540000"/>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CH" b="1">
                  <a:solidFill>
                    <a:srgbClr val="00802F"/>
                  </a:solidFill>
                </a:rPr>
                <a:t>Models</a:t>
              </a:r>
              <a:endParaRPr lang="en-US" b="1">
                <a:solidFill>
                  <a:srgbClr val="00802F"/>
                </a:solidFill>
              </a:endParaRPr>
            </a:p>
          </p:txBody>
        </p:sp>
        <p:cxnSp>
          <p:nvCxnSpPr>
            <p:cNvPr id="10" name="Straight Connector 9">
              <a:extLst>
                <a:ext uri="{FF2B5EF4-FFF2-40B4-BE49-F238E27FC236}">
                  <a16:creationId xmlns:a16="http://schemas.microsoft.com/office/drawing/2014/main" id="{F24CB029-9BF9-3B7E-9883-26570734A77A}"/>
                </a:ext>
              </a:extLst>
            </p:cNvPr>
            <p:cNvCxnSpPr>
              <a:cxnSpLocks/>
            </p:cNvCxnSpPr>
            <p:nvPr/>
          </p:nvCxnSpPr>
          <p:spPr>
            <a:xfrm>
              <a:off x="3240000" y="1984334"/>
              <a:ext cx="4296954"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E9242151-C117-6FDB-8D12-EE15FE45AD77}"/>
              </a:ext>
            </a:extLst>
          </p:cNvPr>
          <p:cNvGrpSpPr/>
          <p:nvPr/>
        </p:nvGrpSpPr>
        <p:grpSpPr>
          <a:xfrm>
            <a:off x="450000" y="2230490"/>
            <a:ext cx="3952556" cy="648011"/>
            <a:chOff x="3240000" y="1336323"/>
            <a:chExt cx="4296954" cy="648011"/>
          </a:xfrm>
        </p:grpSpPr>
        <p:sp>
          <p:nvSpPr>
            <p:cNvPr id="20" name="Rectangle 19">
              <a:extLst>
                <a:ext uri="{FF2B5EF4-FFF2-40B4-BE49-F238E27FC236}">
                  <a16:creationId xmlns:a16="http://schemas.microsoft.com/office/drawing/2014/main" id="{38A6A296-F785-C78A-D72E-AA6043BD9E0D}"/>
                </a:ext>
              </a:extLst>
            </p:cNvPr>
            <p:cNvSpPr/>
            <p:nvPr/>
          </p:nvSpPr>
          <p:spPr>
            <a:xfrm>
              <a:off x="3240000" y="1336323"/>
              <a:ext cx="4296954" cy="540000"/>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GB" b="1">
                  <a:solidFill>
                    <a:srgbClr val="00802F"/>
                  </a:solidFill>
                </a:rPr>
                <a:t>Transformations</a:t>
              </a:r>
            </a:p>
          </p:txBody>
        </p:sp>
        <p:cxnSp>
          <p:nvCxnSpPr>
            <p:cNvPr id="21" name="Straight Connector 20">
              <a:extLst>
                <a:ext uri="{FF2B5EF4-FFF2-40B4-BE49-F238E27FC236}">
                  <a16:creationId xmlns:a16="http://schemas.microsoft.com/office/drawing/2014/main" id="{4A481EDB-670E-5416-5744-976EBF20B042}"/>
                </a:ext>
              </a:extLst>
            </p:cNvPr>
            <p:cNvCxnSpPr>
              <a:cxnSpLocks/>
            </p:cNvCxnSpPr>
            <p:nvPr/>
          </p:nvCxnSpPr>
          <p:spPr>
            <a:xfrm>
              <a:off x="3240000" y="1984334"/>
              <a:ext cx="4296954"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32430914-1FC8-24AE-6A6E-CEA662B61B29}"/>
              </a:ext>
            </a:extLst>
          </p:cNvPr>
          <p:cNvGrpSpPr/>
          <p:nvPr/>
        </p:nvGrpSpPr>
        <p:grpSpPr>
          <a:xfrm>
            <a:off x="450000" y="4243497"/>
            <a:ext cx="3952556" cy="648011"/>
            <a:chOff x="3240000" y="1402569"/>
            <a:chExt cx="4296954" cy="648011"/>
          </a:xfrm>
        </p:grpSpPr>
        <p:sp>
          <p:nvSpPr>
            <p:cNvPr id="23" name="Rectangle 22">
              <a:extLst>
                <a:ext uri="{FF2B5EF4-FFF2-40B4-BE49-F238E27FC236}">
                  <a16:creationId xmlns:a16="http://schemas.microsoft.com/office/drawing/2014/main" id="{21705F89-7E93-1D6F-1C8B-6E04EAD8A079}"/>
                </a:ext>
              </a:extLst>
            </p:cNvPr>
            <p:cNvSpPr/>
            <p:nvPr/>
          </p:nvSpPr>
          <p:spPr>
            <a:xfrm>
              <a:off x="3240000" y="1402569"/>
              <a:ext cx="4296954" cy="540000"/>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CH" b="1">
                  <a:solidFill>
                    <a:srgbClr val="00802F"/>
                  </a:solidFill>
                </a:rPr>
                <a:t>Experiments</a:t>
              </a:r>
              <a:endParaRPr lang="en-US" b="1">
                <a:solidFill>
                  <a:srgbClr val="00802F"/>
                </a:solidFill>
              </a:endParaRPr>
            </a:p>
          </p:txBody>
        </p:sp>
        <p:cxnSp>
          <p:nvCxnSpPr>
            <p:cNvPr id="24" name="Straight Connector 23">
              <a:extLst>
                <a:ext uri="{FF2B5EF4-FFF2-40B4-BE49-F238E27FC236}">
                  <a16:creationId xmlns:a16="http://schemas.microsoft.com/office/drawing/2014/main" id="{779ABC2D-1522-2325-FD8E-EFB39F6E2FB2}"/>
                </a:ext>
              </a:extLst>
            </p:cNvPr>
            <p:cNvCxnSpPr>
              <a:cxnSpLocks/>
            </p:cNvCxnSpPr>
            <p:nvPr/>
          </p:nvCxnSpPr>
          <p:spPr>
            <a:xfrm>
              <a:off x="3240000" y="2050580"/>
              <a:ext cx="4296954"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81456BD1-CE70-DF32-5BF0-A7E4854916D0}"/>
              </a:ext>
            </a:extLst>
          </p:cNvPr>
          <p:cNvSpPr/>
          <p:nvPr/>
        </p:nvSpPr>
        <p:spPr>
          <a:xfrm>
            <a:off x="450000" y="4649873"/>
            <a:ext cx="8006216" cy="72007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tabLst>
                <a:tab pos="1106488" algn="l"/>
                <a:tab pos="1152525" algn="l"/>
              </a:tabLst>
            </a:pPr>
            <a:endParaRPr lang="en-GB" sz="1600">
              <a:solidFill>
                <a:schemeClr val="tx1"/>
              </a:solidFill>
              <a:latin typeface="Titillium Web"/>
            </a:endParaRPr>
          </a:p>
        </p:txBody>
      </p:sp>
      <p:sp>
        <p:nvSpPr>
          <p:cNvPr id="26" name="Rectangle 25">
            <a:extLst>
              <a:ext uri="{FF2B5EF4-FFF2-40B4-BE49-F238E27FC236}">
                <a16:creationId xmlns:a16="http://schemas.microsoft.com/office/drawing/2014/main" id="{229E5B80-A052-0637-6D14-C2178D292030}"/>
              </a:ext>
            </a:extLst>
          </p:cNvPr>
          <p:cNvSpPr/>
          <p:nvPr/>
        </p:nvSpPr>
        <p:spPr>
          <a:xfrm>
            <a:off x="448155" y="2996953"/>
            <a:ext cx="5216591" cy="72007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Font typeface="Arial" panose="020B0604020202020204" pitchFamily="34" charset="0"/>
              <a:buChar char="•"/>
              <a:tabLst>
                <a:tab pos="1106488" algn="l"/>
                <a:tab pos="1152525" algn="l"/>
              </a:tabLst>
            </a:pPr>
            <a:r>
              <a:rPr lang="en-GB" sz="1600">
                <a:solidFill>
                  <a:schemeClr val="tx1"/>
                </a:solidFill>
                <a:latin typeface="Titillium Web"/>
              </a:rPr>
              <a:t>Re-sizing to 204x204 pixels</a:t>
            </a:r>
          </a:p>
          <a:p>
            <a:pPr marL="285750" indent="-285750">
              <a:spcAft>
                <a:spcPts val="600"/>
              </a:spcAft>
              <a:buFont typeface="Arial" panose="020B0604020202020204" pitchFamily="34" charset="0"/>
              <a:buChar char="•"/>
              <a:tabLst>
                <a:tab pos="1106488" algn="l"/>
                <a:tab pos="1152525" algn="l"/>
              </a:tabLst>
            </a:pPr>
            <a:r>
              <a:rPr lang="en-GB" sz="1600">
                <a:solidFill>
                  <a:schemeClr val="tx1"/>
                </a:solidFill>
                <a:latin typeface="Titillium Web"/>
              </a:rPr>
              <a:t>Random rotation of 5º</a:t>
            </a:r>
          </a:p>
          <a:p>
            <a:pPr marL="285750" indent="-285750">
              <a:spcAft>
                <a:spcPts val="600"/>
              </a:spcAft>
              <a:buFont typeface="Arial" panose="020B0604020202020204" pitchFamily="34" charset="0"/>
              <a:buChar char="•"/>
              <a:tabLst>
                <a:tab pos="1106488" algn="l"/>
                <a:tab pos="1152525" algn="l"/>
              </a:tabLst>
            </a:pPr>
            <a:r>
              <a:rPr lang="en-GB" sz="1600">
                <a:solidFill>
                  <a:schemeClr val="tx1"/>
                </a:solidFill>
                <a:latin typeface="Titillium Web"/>
              </a:rPr>
              <a:t>Random crop to 224 pixels and padding of 10pixels</a:t>
            </a:r>
          </a:p>
          <a:p>
            <a:pPr marL="285750" indent="-285750">
              <a:spcAft>
                <a:spcPts val="600"/>
              </a:spcAft>
              <a:buFont typeface="Arial" panose="020B0604020202020204" pitchFamily="34" charset="0"/>
              <a:buChar char="•"/>
              <a:tabLst>
                <a:tab pos="1106488" algn="l"/>
                <a:tab pos="1152525" algn="l"/>
              </a:tabLst>
            </a:pPr>
            <a:r>
              <a:rPr lang="en-GB" sz="1600">
                <a:solidFill>
                  <a:schemeClr val="tx1"/>
                </a:solidFill>
                <a:latin typeface="Titillium Web"/>
              </a:rPr>
              <a:t>Normalization </a:t>
            </a:r>
            <a:r>
              <a:rPr lang="en-GB" sz="1400">
                <a:solidFill>
                  <a:schemeClr val="tx1"/>
                </a:solidFill>
                <a:latin typeface="Titillium Web"/>
              </a:rPr>
              <a:t>([0.5, 0.5, 0.5], [0.5, 0.5, 0. 5])</a:t>
            </a:r>
          </a:p>
        </p:txBody>
      </p:sp>
      <p:sp>
        <p:nvSpPr>
          <p:cNvPr id="27" name="Rectangle 26">
            <a:extLst>
              <a:ext uri="{FF2B5EF4-FFF2-40B4-BE49-F238E27FC236}">
                <a16:creationId xmlns:a16="http://schemas.microsoft.com/office/drawing/2014/main" id="{A76117BA-A889-6AC9-FEA8-8C0322D5D198}"/>
              </a:ext>
            </a:extLst>
          </p:cNvPr>
          <p:cNvSpPr/>
          <p:nvPr/>
        </p:nvSpPr>
        <p:spPr>
          <a:xfrm>
            <a:off x="438364" y="1556793"/>
            <a:ext cx="5180154" cy="72007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tabLst>
                <a:tab pos="1106488" algn="l"/>
              </a:tabLst>
            </a:pPr>
            <a:r>
              <a:rPr lang="en-GB" sz="1600">
                <a:solidFill>
                  <a:schemeClr val="tx1"/>
                </a:solidFill>
                <a:latin typeface="Titillium Web"/>
              </a:rPr>
              <a:t>Pretrained weights from PyTorch, VIT_B_16 (best performance on ImageNet1K with this image size)</a:t>
            </a:r>
          </a:p>
        </p:txBody>
      </p:sp>
      <p:sp>
        <p:nvSpPr>
          <p:cNvPr id="29" name="Rectangle 28">
            <a:extLst>
              <a:ext uri="{FF2B5EF4-FFF2-40B4-BE49-F238E27FC236}">
                <a16:creationId xmlns:a16="http://schemas.microsoft.com/office/drawing/2014/main" id="{DEB41A6D-19F2-C8AF-D1E0-A72939E043F6}"/>
              </a:ext>
            </a:extLst>
          </p:cNvPr>
          <p:cNvSpPr/>
          <p:nvPr/>
        </p:nvSpPr>
        <p:spPr>
          <a:xfrm>
            <a:off x="401927" y="5009912"/>
            <a:ext cx="5216591" cy="72007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tabLst>
                <a:tab pos="1106488" algn="l"/>
                <a:tab pos="1152525" algn="l"/>
              </a:tabLst>
            </a:pPr>
            <a:r>
              <a:rPr lang="en-GB" sz="1600">
                <a:solidFill>
                  <a:schemeClr val="tx1"/>
                </a:solidFill>
                <a:latin typeface="Titillium Web"/>
              </a:rPr>
              <a:t>Image Resizing, </a:t>
            </a:r>
            <a:r>
              <a:rPr lang="en-GB" sz="1600" err="1">
                <a:solidFill>
                  <a:schemeClr val="tx1"/>
                </a:solidFill>
                <a:latin typeface="Titillium Web"/>
              </a:rPr>
              <a:t>DeiT</a:t>
            </a:r>
            <a:r>
              <a:rPr lang="en-GB" sz="1600">
                <a:solidFill>
                  <a:schemeClr val="tx1"/>
                </a:solidFill>
                <a:latin typeface="Titillium Web"/>
              </a:rPr>
              <a:t> model for low RAM consumption,</a:t>
            </a:r>
          </a:p>
          <a:p>
            <a:pPr>
              <a:spcAft>
                <a:spcPts val="600"/>
              </a:spcAft>
              <a:tabLst>
                <a:tab pos="1106488" algn="l"/>
                <a:tab pos="1152525" algn="l"/>
              </a:tabLst>
            </a:pPr>
            <a:r>
              <a:rPr lang="en-GB" sz="1600">
                <a:solidFill>
                  <a:schemeClr val="tx1"/>
                </a:solidFill>
                <a:latin typeface="Titillium Web"/>
              </a:rPr>
              <a:t>Dropout Layer (with probability 0.3 and 0.5)</a:t>
            </a:r>
          </a:p>
          <a:p>
            <a:pPr>
              <a:spcAft>
                <a:spcPts val="600"/>
              </a:spcAft>
              <a:tabLst>
                <a:tab pos="1106488" algn="l"/>
                <a:tab pos="1152525" algn="l"/>
              </a:tabLst>
            </a:pPr>
            <a:endParaRPr lang="en-GB" sz="1400">
              <a:solidFill>
                <a:schemeClr val="tx1"/>
              </a:solidFill>
              <a:latin typeface="Titillium Web"/>
            </a:endParaRPr>
          </a:p>
        </p:txBody>
      </p:sp>
      <p:sp>
        <p:nvSpPr>
          <p:cNvPr id="30" name="Rectangle 29">
            <a:extLst>
              <a:ext uri="{FF2B5EF4-FFF2-40B4-BE49-F238E27FC236}">
                <a16:creationId xmlns:a16="http://schemas.microsoft.com/office/drawing/2014/main" id="{60DFBD54-1E97-DC1A-EC21-9582B71A9989}"/>
              </a:ext>
            </a:extLst>
          </p:cNvPr>
          <p:cNvSpPr/>
          <p:nvPr/>
        </p:nvSpPr>
        <p:spPr>
          <a:xfrm>
            <a:off x="404354" y="5813753"/>
            <a:ext cx="3952556" cy="540000"/>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de-CH" b="1">
                <a:solidFill>
                  <a:srgbClr val="00802F"/>
                </a:solidFill>
              </a:rPr>
              <a:t>Best Score:</a:t>
            </a:r>
            <a:endParaRPr lang="en-US" b="1">
              <a:solidFill>
                <a:srgbClr val="00802F"/>
              </a:solidFill>
            </a:endParaRPr>
          </a:p>
        </p:txBody>
      </p:sp>
      <p:sp>
        <p:nvSpPr>
          <p:cNvPr id="34" name="Rectangle 33">
            <a:extLst>
              <a:ext uri="{FF2B5EF4-FFF2-40B4-BE49-F238E27FC236}">
                <a16:creationId xmlns:a16="http://schemas.microsoft.com/office/drawing/2014/main" id="{7AEAEC9C-E703-466A-D543-619DC6321DB4}"/>
              </a:ext>
            </a:extLst>
          </p:cNvPr>
          <p:cNvSpPr/>
          <p:nvPr/>
        </p:nvSpPr>
        <p:spPr>
          <a:xfrm>
            <a:off x="1812479" y="6005574"/>
            <a:ext cx="5180153" cy="394351"/>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tabLst>
                <a:tab pos="1106488" algn="l"/>
                <a:tab pos="1152525" algn="l"/>
                <a:tab pos="2525713" algn="l"/>
              </a:tabLst>
            </a:pPr>
            <a:r>
              <a:rPr lang="de-CH" sz="1600" b="1">
                <a:solidFill>
                  <a:schemeClr val="tx1"/>
                </a:solidFill>
                <a:latin typeface="Titillium Web"/>
              </a:rPr>
              <a:t>0.62564</a:t>
            </a:r>
          </a:p>
        </p:txBody>
      </p:sp>
    </p:spTree>
    <p:extLst>
      <p:ext uri="{BB962C8B-B14F-4D97-AF65-F5344CB8AC3E}">
        <p14:creationId xmlns:p14="http://schemas.microsoft.com/office/powerpoint/2010/main" val="19961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ppt_x"/>
                                          </p:val>
                                        </p:tav>
                                        <p:tav tm="100000">
                                          <p:val>
                                            <p:strVal val="#ppt_x"/>
                                          </p:val>
                                        </p:tav>
                                      </p:tavLst>
                                    </p:anim>
                                    <p:anim calcmode="lin" valueType="num">
                                      <p:cBhvr additive="base">
                                        <p:cTn id="8" dur="500" fill="hold"/>
                                        <p:tgtEl>
                                          <p:spTgt spid="3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ppt_x"/>
                                          </p:val>
                                        </p:tav>
                                        <p:tav tm="100000">
                                          <p:val>
                                            <p:strVal val="#ppt_x"/>
                                          </p:val>
                                        </p:tav>
                                      </p:tavLst>
                                    </p:anim>
                                    <p:anim calcmode="lin" valueType="num">
                                      <p:cBhvr additive="base">
                                        <p:cTn id="12"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E2D6E43-E02E-4421-88F2-D054137ACA4F}"/>
              </a:ext>
            </a:extLst>
          </p:cNvPr>
          <p:cNvGraphicFramePr>
            <a:graphicFrameLocks noChangeAspect="1"/>
          </p:cNvGraphicFramePr>
          <p:nvPr>
            <p:custDataLst>
              <p:tags r:id="rId2"/>
            </p:custDataLst>
            <p:extLst>
              <p:ext uri="{D42A27DB-BD31-4B8C-83A1-F6EECF244321}">
                <p14:modId xmlns:p14="http://schemas.microsoft.com/office/powerpoint/2010/main" val="1876290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5" imgW="592" imgH="591" progId="TCLayout.ActiveDocument.1">
                  <p:embed/>
                </p:oleObj>
              </mc:Choice>
              <mc:Fallback>
                <p:oleObj name="think-cell Slide" r:id="rId5" imgW="592" imgH="591" progId="TCLayout.ActiveDocument.1">
                  <p:embed/>
                  <p:pic>
                    <p:nvPicPr>
                      <p:cNvPr id="7" name="think-cell data - do not delete" hidden="1">
                        <a:extLst>
                          <a:ext uri="{FF2B5EF4-FFF2-40B4-BE49-F238E27FC236}">
                            <a16:creationId xmlns:a16="http://schemas.microsoft.com/office/drawing/2014/main" id="{FE2D6E43-E02E-4421-88F2-D054137ACA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79B606-C08D-4E91-AC28-6C6C79534332}"/>
              </a:ext>
            </a:extLst>
          </p:cNvPr>
          <p:cNvSpPr>
            <a:spLocks noGrp="1"/>
          </p:cNvSpPr>
          <p:nvPr>
            <p:ph type="title"/>
          </p:nvPr>
        </p:nvSpPr>
        <p:spPr/>
        <p:txBody>
          <a:bodyPr vert="horz"/>
          <a:lstStyle/>
          <a:p>
            <a:r>
              <a:rPr lang="en-US"/>
              <a:t>Domain Adaptation (1/2) - Setup</a:t>
            </a:r>
          </a:p>
        </p:txBody>
      </p:sp>
      <p:sp>
        <p:nvSpPr>
          <p:cNvPr id="4" name="Slide Number Placeholder 3">
            <a:extLst>
              <a:ext uri="{FF2B5EF4-FFF2-40B4-BE49-F238E27FC236}">
                <a16:creationId xmlns:a16="http://schemas.microsoft.com/office/drawing/2014/main" id="{42AFDF4A-9471-472C-8C75-724F072D08EF}"/>
              </a:ext>
            </a:extLst>
          </p:cNvPr>
          <p:cNvSpPr>
            <a:spLocks noGrp="1"/>
          </p:cNvSpPr>
          <p:nvPr>
            <p:ph type="sldNum" sz="quarter" idx="4"/>
          </p:nvPr>
        </p:nvSpPr>
        <p:spPr/>
        <p:txBody>
          <a:bodyPr/>
          <a:lstStyle/>
          <a:p>
            <a:fld id="{1FF5481D-800C-4F34-B3D6-C18BC0A4FD2D}" type="slidenum">
              <a:rPr lang="de-CH" smtClean="0"/>
              <a:pPr/>
              <a:t>6</a:t>
            </a:fld>
            <a:endParaRPr lang="de-CH"/>
          </a:p>
        </p:txBody>
      </p:sp>
      <p:sp>
        <p:nvSpPr>
          <p:cNvPr id="5" name="Footer Placeholder 4">
            <a:extLst>
              <a:ext uri="{FF2B5EF4-FFF2-40B4-BE49-F238E27FC236}">
                <a16:creationId xmlns:a16="http://schemas.microsoft.com/office/drawing/2014/main" id="{D99A21C6-B5C5-4432-8345-B2C96D930FA1}"/>
              </a:ext>
            </a:extLst>
          </p:cNvPr>
          <p:cNvSpPr>
            <a:spLocks noGrp="1"/>
          </p:cNvSpPr>
          <p:nvPr>
            <p:ph type="ftr" sz="quarter" idx="3"/>
          </p:nvPr>
        </p:nvSpPr>
        <p:spPr/>
        <p:txBody>
          <a:bodyPr/>
          <a:lstStyle/>
          <a:p>
            <a:r>
              <a:rPr lang="en-US" noProof="0"/>
              <a:t>Prof. Damian Borth - Artificial Intelligence &amp; Machine Learning [AIML]</a:t>
            </a:r>
          </a:p>
        </p:txBody>
      </p:sp>
      <p:sp>
        <p:nvSpPr>
          <p:cNvPr id="20" name="Rectangle 19">
            <a:extLst>
              <a:ext uri="{FF2B5EF4-FFF2-40B4-BE49-F238E27FC236}">
                <a16:creationId xmlns:a16="http://schemas.microsoft.com/office/drawing/2014/main" id="{8F925A16-94D0-4907-AA3F-B14965367F07}"/>
              </a:ext>
            </a:extLst>
          </p:cNvPr>
          <p:cNvSpPr/>
          <p:nvPr/>
        </p:nvSpPr>
        <p:spPr>
          <a:xfrm>
            <a:off x="7067550" y="2090895"/>
            <a:ext cx="4429125" cy="86433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Aft>
                <a:spcPts val="200"/>
              </a:spcAft>
            </a:pPr>
            <a:r>
              <a:rPr lang="de-CH" sz="1600" b="1">
                <a:solidFill>
                  <a:srgbClr val="00802F"/>
                </a:solidFill>
                <a:latin typeface="Titillium Web"/>
              </a:rPr>
              <a:t>Feature Extractor</a:t>
            </a:r>
          </a:p>
          <a:p>
            <a:pPr marL="342900" indent="-161925">
              <a:spcAft>
                <a:spcPts val="300"/>
              </a:spcAft>
              <a:buFont typeface="Arial" panose="020B0604020202020204" pitchFamily="34" charset="0"/>
              <a:buChar char="•"/>
            </a:pPr>
            <a:r>
              <a:rPr lang="en-US" sz="1200">
                <a:solidFill>
                  <a:schemeClr val="tx1"/>
                </a:solidFill>
                <a:latin typeface="Titillium Web"/>
              </a:rPr>
              <a:t>Based on the feature extractor layers from the ResNet architecture (i.e., ResNet18 and ResNet50)</a:t>
            </a:r>
          </a:p>
          <a:p>
            <a:pPr marL="342900" indent="-161925">
              <a:buFont typeface="Arial" panose="020B0604020202020204" pitchFamily="34" charset="0"/>
              <a:buChar char="•"/>
            </a:pPr>
            <a:r>
              <a:rPr lang="en-US" sz="1200">
                <a:solidFill>
                  <a:schemeClr val="tx1"/>
                </a:solidFill>
                <a:latin typeface="Titillium Web"/>
              </a:rPr>
              <a:t>Using default pre-trained weights from PyTorch</a:t>
            </a:r>
          </a:p>
        </p:txBody>
      </p:sp>
      <p:sp>
        <p:nvSpPr>
          <p:cNvPr id="31" name="Rectangle 30">
            <a:extLst>
              <a:ext uri="{FF2B5EF4-FFF2-40B4-BE49-F238E27FC236}">
                <a16:creationId xmlns:a16="http://schemas.microsoft.com/office/drawing/2014/main" id="{EBDB9462-375D-4D78-8DDE-AC3E0CFFECDE}"/>
              </a:ext>
            </a:extLst>
          </p:cNvPr>
          <p:cNvSpPr/>
          <p:nvPr/>
        </p:nvSpPr>
        <p:spPr>
          <a:xfrm>
            <a:off x="7067550" y="3069348"/>
            <a:ext cx="4429124" cy="825867"/>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Aft>
                <a:spcPts val="200"/>
              </a:spcAft>
            </a:pPr>
            <a:r>
              <a:rPr lang="de-CH" sz="1600" b="1">
                <a:solidFill>
                  <a:srgbClr val="00802F"/>
                </a:solidFill>
                <a:latin typeface="Titillium Web"/>
              </a:rPr>
              <a:t>Label classifier</a:t>
            </a:r>
          </a:p>
          <a:p>
            <a:pPr marL="342900" indent="-161925">
              <a:spcAft>
                <a:spcPts val="300"/>
              </a:spcAft>
              <a:buFont typeface="Arial" panose="020B0604020202020204" pitchFamily="34" charset="0"/>
              <a:buChar char="•"/>
            </a:pPr>
            <a:r>
              <a:rPr lang="en-US" sz="1200">
                <a:solidFill>
                  <a:schemeClr val="tx1"/>
                </a:solidFill>
                <a:latin typeface="Titillium Web"/>
              </a:rPr>
              <a:t>4-layer head on top of feature extractor, consisting of: one linear transformation (to number of classes), batch norm, ReLU activation function &amp; SoftMax</a:t>
            </a:r>
          </a:p>
        </p:txBody>
      </p:sp>
      <p:sp>
        <p:nvSpPr>
          <p:cNvPr id="33" name="Rectangle 32">
            <a:extLst>
              <a:ext uri="{FF2B5EF4-FFF2-40B4-BE49-F238E27FC236}">
                <a16:creationId xmlns:a16="http://schemas.microsoft.com/office/drawing/2014/main" id="{9CED8209-3BC3-459E-8768-88D393E57EAB}"/>
              </a:ext>
            </a:extLst>
          </p:cNvPr>
          <p:cNvSpPr/>
          <p:nvPr/>
        </p:nvSpPr>
        <p:spPr>
          <a:xfrm>
            <a:off x="7067550" y="4060624"/>
            <a:ext cx="4429124" cy="825867"/>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Aft>
                <a:spcPts val="200"/>
              </a:spcAft>
            </a:pPr>
            <a:r>
              <a:rPr lang="de-CH" sz="1600" b="1">
                <a:solidFill>
                  <a:srgbClr val="00802F"/>
                </a:solidFill>
                <a:latin typeface="Titillium Web"/>
              </a:rPr>
              <a:t>Domain classifier</a:t>
            </a:r>
          </a:p>
          <a:p>
            <a:pPr marL="342900" indent="-161925">
              <a:spcAft>
                <a:spcPts val="300"/>
              </a:spcAft>
              <a:buFont typeface="Arial" panose="020B0604020202020204" pitchFamily="34" charset="0"/>
              <a:buChar char="•"/>
            </a:pPr>
            <a:r>
              <a:rPr lang="en-US" sz="1200">
                <a:solidFill>
                  <a:schemeClr val="tx1"/>
                </a:solidFill>
                <a:latin typeface="Titillium Web"/>
              </a:rPr>
              <a:t>8-layer head on top of feature extractor, consisting of various linear mapping and ReLU activation functions and a SoftMax at the end</a:t>
            </a:r>
          </a:p>
        </p:txBody>
      </p:sp>
      <p:grpSp>
        <p:nvGrpSpPr>
          <p:cNvPr id="3" name="Group 2">
            <a:extLst>
              <a:ext uri="{FF2B5EF4-FFF2-40B4-BE49-F238E27FC236}">
                <a16:creationId xmlns:a16="http://schemas.microsoft.com/office/drawing/2014/main" id="{87A23A4A-A6D9-4B21-958A-99336B0F99CA}"/>
              </a:ext>
            </a:extLst>
          </p:cNvPr>
          <p:cNvGrpSpPr/>
          <p:nvPr/>
        </p:nvGrpSpPr>
        <p:grpSpPr>
          <a:xfrm>
            <a:off x="696913" y="1268809"/>
            <a:ext cx="5260458" cy="4357948"/>
            <a:chOff x="696913" y="1268809"/>
            <a:chExt cx="5260458" cy="4357948"/>
          </a:xfrm>
        </p:grpSpPr>
        <p:sp>
          <p:nvSpPr>
            <p:cNvPr id="12" name="Rectangle 11">
              <a:extLst>
                <a:ext uri="{FF2B5EF4-FFF2-40B4-BE49-F238E27FC236}">
                  <a16:creationId xmlns:a16="http://schemas.microsoft.com/office/drawing/2014/main" id="{825F0ADF-2570-48DD-AF83-B0BBCE90640D}"/>
                </a:ext>
              </a:extLst>
            </p:cNvPr>
            <p:cNvSpPr/>
            <p:nvPr/>
          </p:nvSpPr>
          <p:spPr>
            <a:xfrm>
              <a:off x="854320" y="4906678"/>
              <a:ext cx="4867530" cy="72007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Aft>
                  <a:spcPts val="300"/>
                </a:spcAft>
                <a:buFont typeface="Arial" panose="020B0604020202020204" pitchFamily="34" charset="0"/>
                <a:buChar char="•"/>
              </a:pPr>
              <a:r>
                <a:rPr lang="de-CH" sz="1400">
                  <a:solidFill>
                    <a:schemeClr val="tx1"/>
                  </a:solidFill>
                  <a:latin typeface="Titillium Web"/>
                </a:rPr>
                <a:t>Based on the approach as outlined by Ganin et al., 2015 </a:t>
              </a:r>
            </a:p>
            <a:p>
              <a:pPr marL="342900" indent="-342900">
                <a:spcAft>
                  <a:spcPts val="300"/>
                </a:spcAft>
                <a:buFont typeface="Arial" panose="020B0604020202020204" pitchFamily="34" charset="0"/>
                <a:buChar char="•"/>
              </a:pPr>
              <a:r>
                <a:rPr lang="de-CH" sz="1400">
                  <a:solidFill>
                    <a:schemeClr val="tx1"/>
                  </a:solidFill>
                  <a:latin typeface="Titillium Web"/>
                </a:rPr>
                <a:t>Same feature extractor, two different heads: one for predicting label, the other for classifying domain </a:t>
              </a:r>
            </a:p>
            <a:p>
              <a:pPr marL="342900" indent="-342900">
                <a:spcAft>
                  <a:spcPts val="300"/>
                </a:spcAft>
                <a:buFont typeface="Arial" panose="020B0604020202020204" pitchFamily="34" charset="0"/>
                <a:buChar char="•"/>
              </a:pPr>
              <a:r>
                <a:rPr lang="de-CH" sz="1400">
                  <a:solidFill>
                    <a:schemeClr val="tx1"/>
                  </a:solidFill>
                  <a:latin typeface="Titillium Web"/>
                </a:rPr>
                <a:t>Loss for classifying domain backprogates through reversal layer to maximize loss of domain classifier</a:t>
              </a:r>
            </a:p>
            <a:p>
              <a:pPr marL="342900" indent="-342900">
                <a:spcAft>
                  <a:spcPts val="300"/>
                </a:spcAft>
                <a:buFont typeface="Arial" panose="020B0604020202020204" pitchFamily="34" charset="0"/>
                <a:buChar char="•"/>
              </a:pPr>
              <a:r>
                <a:rPr lang="de-CH" sz="1400">
                  <a:solidFill>
                    <a:schemeClr val="tx1"/>
                  </a:solidFill>
                  <a:latin typeface="Titillium Web"/>
                </a:rPr>
                <a:t>Goal: Increase loss for domain &amp; decrease for label classifier</a:t>
              </a:r>
              <a:endParaRPr lang="en-US" sz="1400">
                <a:solidFill>
                  <a:schemeClr val="tx1"/>
                </a:solidFill>
                <a:latin typeface="Titillium Web"/>
              </a:endParaRPr>
            </a:p>
          </p:txBody>
        </p:sp>
        <p:grpSp>
          <p:nvGrpSpPr>
            <p:cNvPr id="41" name="Group 40">
              <a:extLst>
                <a:ext uri="{FF2B5EF4-FFF2-40B4-BE49-F238E27FC236}">
                  <a16:creationId xmlns:a16="http://schemas.microsoft.com/office/drawing/2014/main" id="{4841D8D3-6BBD-423F-9EA6-08FA66C6BDFF}"/>
                </a:ext>
              </a:extLst>
            </p:cNvPr>
            <p:cNvGrpSpPr/>
            <p:nvPr/>
          </p:nvGrpSpPr>
          <p:grpSpPr>
            <a:xfrm>
              <a:off x="1128242" y="2066829"/>
              <a:ext cx="4319686" cy="2724341"/>
              <a:chOff x="1128242" y="2276476"/>
              <a:chExt cx="4319686" cy="2724341"/>
            </a:xfrm>
          </p:grpSpPr>
          <p:pic>
            <p:nvPicPr>
              <p:cNvPr id="8" name="Picture 5" descr="Adapted from “Domain Adversarial Neural Network (DANN)” proposed by... |  Download Scientific Diagram">
                <a:extLst>
                  <a:ext uri="{FF2B5EF4-FFF2-40B4-BE49-F238E27FC236}">
                    <a16:creationId xmlns:a16="http://schemas.microsoft.com/office/drawing/2014/main" id="{BD5980F6-526C-4E5C-9DCD-8A922E26C2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8242" y="2276872"/>
                <a:ext cx="4319686" cy="2723945"/>
              </a:xfrm>
              <a:prstGeom prst="rect">
                <a:avLst/>
              </a:pr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2E869459-5BCA-4D6F-821E-54853CE34E0D}"/>
                  </a:ext>
                </a:extLst>
              </p:cNvPr>
              <p:cNvSpPr/>
              <p:nvPr/>
            </p:nvSpPr>
            <p:spPr>
              <a:xfrm>
                <a:off x="2206562" y="2336467"/>
                <a:ext cx="363640" cy="27309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sp>
            <p:nvSpPr>
              <p:cNvPr id="14" name="Rectangle 13">
                <a:extLst>
                  <a:ext uri="{FF2B5EF4-FFF2-40B4-BE49-F238E27FC236}">
                    <a16:creationId xmlns:a16="http://schemas.microsoft.com/office/drawing/2014/main" id="{EF8B6F10-1B51-473E-B6F5-3C04F08236D8}"/>
                  </a:ext>
                </a:extLst>
              </p:cNvPr>
              <p:cNvSpPr/>
              <p:nvPr/>
            </p:nvSpPr>
            <p:spPr>
              <a:xfrm>
                <a:off x="4080570" y="2276476"/>
                <a:ext cx="363640" cy="261938"/>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sp>
            <p:nvSpPr>
              <p:cNvPr id="15" name="Rectangle 14">
                <a:extLst>
                  <a:ext uri="{FF2B5EF4-FFF2-40B4-BE49-F238E27FC236}">
                    <a16:creationId xmlns:a16="http://schemas.microsoft.com/office/drawing/2014/main" id="{0431BAAA-38AC-4279-9639-C8B131D6EADA}"/>
                  </a:ext>
                </a:extLst>
              </p:cNvPr>
              <p:cNvSpPr/>
              <p:nvPr/>
            </p:nvSpPr>
            <p:spPr>
              <a:xfrm>
                <a:off x="4086151" y="4738879"/>
                <a:ext cx="363640" cy="261938"/>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tillium Web"/>
                </a:endParaRPr>
              </a:p>
            </p:txBody>
          </p:sp>
          <p:sp>
            <p:nvSpPr>
              <p:cNvPr id="16" name="Rectangle 15">
                <a:extLst>
                  <a:ext uri="{FF2B5EF4-FFF2-40B4-BE49-F238E27FC236}">
                    <a16:creationId xmlns:a16="http://schemas.microsoft.com/office/drawing/2014/main" id="{AC28A8F9-1888-4860-B09E-F737A6C83147}"/>
                  </a:ext>
                </a:extLst>
              </p:cNvPr>
              <p:cNvSpPr/>
              <p:nvPr/>
            </p:nvSpPr>
            <p:spPr>
              <a:xfrm>
                <a:off x="2206562" y="2336467"/>
                <a:ext cx="222314" cy="222313"/>
              </a:xfrm>
              <a:prstGeom prst="rect">
                <a:avLst/>
              </a:prstGeom>
              <a:solidFill>
                <a:srgbClr val="00802F"/>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Titillium Web"/>
                  </a:rPr>
                  <a:t>A</a:t>
                </a:r>
              </a:p>
            </p:txBody>
          </p:sp>
          <p:sp>
            <p:nvSpPr>
              <p:cNvPr id="17" name="Rectangle 16">
                <a:extLst>
                  <a:ext uri="{FF2B5EF4-FFF2-40B4-BE49-F238E27FC236}">
                    <a16:creationId xmlns:a16="http://schemas.microsoft.com/office/drawing/2014/main" id="{C17404F9-7650-4FDF-9C3A-8B8EA1BB879C}"/>
                  </a:ext>
                </a:extLst>
              </p:cNvPr>
              <p:cNvSpPr/>
              <p:nvPr/>
            </p:nvSpPr>
            <p:spPr>
              <a:xfrm>
                <a:off x="4151233" y="2303129"/>
                <a:ext cx="222313" cy="222313"/>
              </a:xfrm>
              <a:prstGeom prst="rect">
                <a:avLst/>
              </a:prstGeom>
              <a:solidFill>
                <a:srgbClr val="00802F"/>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Titillium Web"/>
                  </a:rPr>
                  <a:t>B</a:t>
                </a:r>
              </a:p>
            </p:txBody>
          </p:sp>
          <p:sp>
            <p:nvSpPr>
              <p:cNvPr id="18" name="Rectangle 17">
                <a:extLst>
                  <a:ext uri="{FF2B5EF4-FFF2-40B4-BE49-F238E27FC236}">
                    <a16:creationId xmlns:a16="http://schemas.microsoft.com/office/drawing/2014/main" id="{014C9180-A798-4526-AB95-466E026815B6}"/>
                  </a:ext>
                </a:extLst>
              </p:cNvPr>
              <p:cNvSpPr/>
              <p:nvPr/>
            </p:nvSpPr>
            <p:spPr>
              <a:xfrm>
                <a:off x="4151233" y="4758691"/>
                <a:ext cx="222313" cy="222313"/>
              </a:xfrm>
              <a:prstGeom prst="rect">
                <a:avLst/>
              </a:prstGeom>
              <a:solidFill>
                <a:srgbClr val="00802F"/>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Titillium Web"/>
                  </a:rPr>
                  <a:t>C</a:t>
                </a:r>
              </a:p>
            </p:txBody>
          </p:sp>
        </p:grpSp>
        <p:grpSp>
          <p:nvGrpSpPr>
            <p:cNvPr id="11" name="Group 10">
              <a:extLst>
                <a:ext uri="{FF2B5EF4-FFF2-40B4-BE49-F238E27FC236}">
                  <a16:creationId xmlns:a16="http://schemas.microsoft.com/office/drawing/2014/main" id="{016AE315-D3FF-4A19-B168-E7665B2846EF}"/>
                </a:ext>
              </a:extLst>
            </p:cNvPr>
            <p:cNvGrpSpPr/>
            <p:nvPr/>
          </p:nvGrpSpPr>
          <p:grpSpPr>
            <a:xfrm>
              <a:off x="696913" y="1268809"/>
              <a:ext cx="5260458" cy="531414"/>
              <a:chOff x="696913" y="1412875"/>
              <a:chExt cx="3952556" cy="531414"/>
            </a:xfrm>
          </p:grpSpPr>
          <p:sp>
            <p:nvSpPr>
              <p:cNvPr id="9" name="Rectangle 8">
                <a:extLst>
                  <a:ext uri="{FF2B5EF4-FFF2-40B4-BE49-F238E27FC236}">
                    <a16:creationId xmlns:a16="http://schemas.microsoft.com/office/drawing/2014/main" id="{209749B9-825F-489E-AACF-4F854B17ADD3}"/>
                  </a:ext>
                </a:extLst>
              </p:cNvPr>
              <p:cNvSpPr/>
              <p:nvPr/>
            </p:nvSpPr>
            <p:spPr>
              <a:xfrm>
                <a:off x="696913" y="1412875"/>
                <a:ext cx="3952556" cy="43194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b="1">
                    <a:solidFill>
                      <a:srgbClr val="00802F"/>
                    </a:solidFill>
                    <a:latin typeface="Titillium Web"/>
                  </a:rPr>
                  <a:t>Approach of DANN</a:t>
                </a:r>
                <a:endParaRPr lang="en-US" b="1">
                  <a:solidFill>
                    <a:srgbClr val="00802F"/>
                  </a:solidFill>
                  <a:latin typeface="Titillium Web"/>
                </a:endParaRPr>
              </a:p>
            </p:txBody>
          </p:sp>
          <p:cxnSp>
            <p:nvCxnSpPr>
              <p:cNvPr id="10" name="Straight Connector 9">
                <a:extLst>
                  <a:ext uri="{FF2B5EF4-FFF2-40B4-BE49-F238E27FC236}">
                    <a16:creationId xmlns:a16="http://schemas.microsoft.com/office/drawing/2014/main" id="{A63E5EA6-AB63-461E-98FD-1023E6ABF377}"/>
                  </a:ext>
                </a:extLst>
              </p:cNvPr>
              <p:cNvCxnSpPr>
                <a:cxnSpLocks/>
              </p:cNvCxnSpPr>
              <p:nvPr/>
            </p:nvCxnSpPr>
            <p:spPr>
              <a:xfrm>
                <a:off x="696913" y="1944289"/>
                <a:ext cx="3952556"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43" name="Rectangle 42">
            <a:extLst>
              <a:ext uri="{FF2B5EF4-FFF2-40B4-BE49-F238E27FC236}">
                <a16:creationId xmlns:a16="http://schemas.microsoft.com/office/drawing/2014/main" id="{72567AA7-C18D-4B74-AC91-FFB09CBD20A5}"/>
              </a:ext>
            </a:extLst>
          </p:cNvPr>
          <p:cNvSpPr/>
          <p:nvPr/>
        </p:nvSpPr>
        <p:spPr>
          <a:xfrm>
            <a:off x="7067550" y="5036049"/>
            <a:ext cx="4429124" cy="1310615"/>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Aft>
                <a:spcPts val="200"/>
              </a:spcAft>
            </a:pPr>
            <a:r>
              <a:rPr lang="de-CH" sz="1600" b="1">
                <a:solidFill>
                  <a:schemeClr val="accent5"/>
                </a:solidFill>
                <a:latin typeface="Titillium Web"/>
              </a:rPr>
              <a:t>Experimental details</a:t>
            </a:r>
          </a:p>
          <a:p>
            <a:pPr marL="342900" indent="-161925">
              <a:spcAft>
                <a:spcPts val="300"/>
              </a:spcAft>
              <a:buFont typeface="Arial" panose="020B0604020202020204" pitchFamily="34" charset="0"/>
              <a:buChar char="•"/>
            </a:pPr>
            <a:r>
              <a:rPr lang="en-US" sz="1200">
                <a:solidFill>
                  <a:schemeClr val="tx1"/>
                </a:solidFill>
                <a:latin typeface="Titillium Web"/>
              </a:rPr>
              <a:t>20 epochs, with learning rate of 1e-3 &amp; momentum of 0.9</a:t>
            </a:r>
          </a:p>
          <a:p>
            <a:pPr marL="342900" indent="-161925">
              <a:spcAft>
                <a:spcPts val="300"/>
              </a:spcAft>
              <a:buFont typeface="Arial" panose="020B0604020202020204" pitchFamily="34" charset="0"/>
              <a:buChar char="•"/>
            </a:pPr>
            <a:r>
              <a:rPr lang="de-CH" sz="1200">
                <a:solidFill>
                  <a:schemeClr val="tx1"/>
                </a:solidFill>
                <a:latin typeface="Titillium Web"/>
              </a:rPr>
              <a:t>Standard transformation (i.e., rotation, padding)</a:t>
            </a:r>
          </a:p>
          <a:p>
            <a:pPr marL="342900" indent="-161925">
              <a:spcAft>
                <a:spcPts val="300"/>
              </a:spcAft>
              <a:buFont typeface="Arial" panose="020B0604020202020204" pitchFamily="34" charset="0"/>
              <a:buChar char="•"/>
            </a:pPr>
            <a:r>
              <a:rPr lang="de-CH" sz="1200">
                <a:solidFill>
                  <a:schemeClr val="tx1"/>
                </a:solidFill>
                <a:latin typeface="Titillium Web"/>
              </a:rPr>
              <a:t>For every second epoch, we only trained the domain classifier to generate better domain invariant features</a:t>
            </a:r>
          </a:p>
          <a:p>
            <a:pPr marL="342900" indent="-161925">
              <a:spcAft>
                <a:spcPts val="300"/>
              </a:spcAft>
              <a:buFont typeface="Arial" panose="020B0604020202020204" pitchFamily="34" charset="0"/>
              <a:buChar char="•"/>
            </a:pPr>
            <a:r>
              <a:rPr lang="de-CH" sz="1200">
                <a:solidFill>
                  <a:schemeClr val="tx1"/>
                </a:solidFill>
                <a:latin typeface="Titillium Web"/>
              </a:rPr>
              <a:t>Keeping the </a:t>
            </a:r>
            <a:r>
              <a:rPr lang="el-GR" sz="1200">
                <a:solidFill>
                  <a:schemeClr val="tx1"/>
                </a:solidFill>
                <a:latin typeface="Titillium Web"/>
              </a:rPr>
              <a:t>λ</a:t>
            </a:r>
            <a:r>
              <a:rPr lang="de-CH" sz="1200">
                <a:solidFill>
                  <a:schemeClr val="tx1"/>
                </a:solidFill>
                <a:latin typeface="Titillium Web"/>
              </a:rPr>
              <a:t> constant at 0.2 for every iteration &amp; epoch</a:t>
            </a:r>
            <a:endParaRPr lang="en-US" sz="1200">
              <a:solidFill>
                <a:schemeClr val="tx1"/>
              </a:solidFill>
              <a:latin typeface="Titillium Web"/>
            </a:endParaRPr>
          </a:p>
        </p:txBody>
      </p:sp>
      <p:grpSp>
        <p:nvGrpSpPr>
          <p:cNvPr id="34" name="Group 33">
            <a:extLst>
              <a:ext uri="{FF2B5EF4-FFF2-40B4-BE49-F238E27FC236}">
                <a16:creationId xmlns:a16="http://schemas.microsoft.com/office/drawing/2014/main" id="{8A9A4C09-4BCA-487C-85AA-4DF80B7EED62}"/>
              </a:ext>
            </a:extLst>
          </p:cNvPr>
          <p:cNvGrpSpPr/>
          <p:nvPr/>
        </p:nvGrpSpPr>
        <p:grpSpPr>
          <a:xfrm>
            <a:off x="5911113" y="1268809"/>
            <a:ext cx="5585562" cy="5112941"/>
            <a:chOff x="5911113" y="1268809"/>
            <a:chExt cx="5585562" cy="5112941"/>
          </a:xfrm>
        </p:grpSpPr>
        <p:grpSp>
          <p:nvGrpSpPr>
            <p:cNvPr id="29" name="Group 28">
              <a:extLst>
                <a:ext uri="{FF2B5EF4-FFF2-40B4-BE49-F238E27FC236}">
                  <a16:creationId xmlns:a16="http://schemas.microsoft.com/office/drawing/2014/main" id="{99F2EF94-1275-4014-AFDF-F860A0308AD4}"/>
                </a:ext>
              </a:extLst>
            </p:cNvPr>
            <p:cNvGrpSpPr/>
            <p:nvPr/>
          </p:nvGrpSpPr>
          <p:grpSpPr>
            <a:xfrm>
              <a:off x="6236217" y="1268809"/>
              <a:ext cx="5260458" cy="5112941"/>
              <a:chOff x="6236217" y="1268809"/>
              <a:chExt cx="5260458" cy="5112941"/>
            </a:xfrm>
          </p:grpSpPr>
          <p:grpSp>
            <p:nvGrpSpPr>
              <p:cNvPr id="35" name="Group 34">
                <a:extLst>
                  <a:ext uri="{FF2B5EF4-FFF2-40B4-BE49-F238E27FC236}">
                    <a16:creationId xmlns:a16="http://schemas.microsoft.com/office/drawing/2014/main" id="{C15C88E2-514A-4263-BEE2-3700D56F2755}"/>
                  </a:ext>
                </a:extLst>
              </p:cNvPr>
              <p:cNvGrpSpPr/>
              <p:nvPr/>
            </p:nvGrpSpPr>
            <p:grpSpPr>
              <a:xfrm>
                <a:off x="6236217" y="1268809"/>
                <a:ext cx="5260458" cy="531414"/>
                <a:chOff x="696913" y="1412875"/>
                <a:chExt cx="3952556" cy="531414"/>
              </a:xfrm>
            </p:grpSpPr>
            <p:sp>
              <p:nvSpPr>
                <p:cNvPr id="36" name="Rectangle 35">
                  <a:extLst>
                    <a:ext uri="{FF2B5EF4-FFF2-40B4-BE49-F238E27FC236}">
                      <a16:creationId xmlns:a16="http://schemas.microsoft.com/office/drawing/2014/main" id="{60B6834E-F325-4F69-A034-083D046B6F1B}"/>
                    </a:ext>
                  </a:extLst>
                </p:cNvPr>
                <p:cNvSpPr/>
                <p:nvPr/>
              </p:nvSpPr>
              <p:spPr>
                <a:xfrm>
                  <a:off x="696913" y="1412875"/>
                  <a:ext cx="3952556" cy="431949"/>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b="1">
                      <a:solidFill>
                        <a:srgbClr val="00802F"/>
                      </a:solidFill>
                      <a:latin typeface="Titillium Web"/>
                    </a:rPr>
                    <a:t>Deep Neural Network details </a:t>
                  </a:r>
                  <a:endParaRPr lang="en-US" b="1">
                    <a:solidFill>
                      <a:srgbClr val="00802F"/>
                    </a:solidFill>
                    <a:latin typeface="Titillium Web"/>
                  </a:endParaRPr>
                </a:p>
              </p:txBody>
            </p:sp>
            <p:cxnSp>
              <p:nvCxnSpPr>
                <p:cNvPr id="37" name="Straight Connector 36">
                  <a:extLst>
                    <a:ext uri="{FF2B5EF4-FFF2-40B4-BE49-F238E27FC236}">
                      <a16:creationId xmlns:a16="http://schemas.microsoft.com/office/drawing/2014/main" id="{5220A73C-7B53-4536-B99C-97C743A51133}"/>
                    </a:ext>
                  </a:extLst>
                </p:cNvPr>
                <p:cNvCxnSpPr>
                  <a:cxnSpLocks/>
                </p:cNvCxnSpPr>
                <p:nvPr/>
              </p:nvCxnSpPr>
              <p:spPr>
                <a:xfrm>
                  <a:off x="696913" y="1944289"/>
                  <a:ext cx="3952556"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41DA71BE-2B12-4D3E-BE87-5AD84A982B22}"/>
                  </a:ext>
                </a:extLst>
              </p:cNvPr>
              <p:cNvGrpSpPr/>
              <p:nvPr/>
            </p:nvGrpSpPr>
            <p:grpSpPr>
              <a:xfrm>
                <a:off x="6526751" y="2090895"/>
                <a:ext cx="360040" cy="4290855"/>
                <a:chOff x="6526751" y="2090895"/>
                <a:chExt cx="360040" cy="4290855"/>
              </a:xfrm>
            </p:grpSpPr>
            <p:sp>
              <p:nvSpPr>
                <p:cNvPr id="19" name="Rectangle 18">
                  <a:extLst>
                    <a:ext uri="{FF2B5EF4-FFF2-40B4-BE49-F238E27FC236}">
                      <a16:creationId xmlns:a16="http://schemas.microsoft.com/office/drawing/2014/main" id="{168FFC64-994A-4107-8A01-2E0D3C1F8139}"/>
                    </a:ext>
                  </a:extLst>
                </p:cNvPr>
                <p:cNvSpPr/>
                <p:nvPr/>
              </p:nvSpPr>
              <p:spPr>
                <a:xfrm>
                  <a:off x="6526751" y="2090895"/>
                  <a:ext cx="360040" cy="864339"/>
                </a:xfrm>
                <a:prstGeom prst="rect">
                  <a:avLst/>
                </a:prstGeom>
                <a:solidFill>
                  <a:srgbClr val="00802F"/>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latin typeface="Titillium Web"/>
                    </a:rPr>
                    <a:t>A</a:t>
                  </a:r>
                </a:p>
              </p:txBody>
            </p:sp>
            <p:sp>
              <p:nvSpPr>
                <p:cNvPr id="30" name="Rectangle 29">
                  <a:extLst>
                    <a:ext uri="{FF2B5EF4-FFF2-40B4-BE49-F238E27FC236}">
                      <a16:creationId xmlns:a16="http://schemas.microsoft.com/office/drawing/2014/main" id="{F5D99C19-C517-4F4D-8ED5-E02251954D76}"/>
                    </a:ext>
                  </a:extLst>
                </p:cNvPr>
                <p:cNvSpPr/>
                <p:nvPr/>
              </p:nvSpPr>
              <p:spPr>
                <a:xfrm>
                  <a:off x="6526751" y="3069348"/>
                  <a:ext cx="360040" cy="877163"/>
                </a:xfrm>
                <a:prstGeom prst="rect">
                  <a:avLst/>
                </a:prstGeom>
                <a:solidFill>
                  <a:srgbClr val="00802F"/>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latin typeface="Titillium Web"/>
                    </a:rPr>
                    <a:t>B</a:t>
                  </a:r>
                </a:p>
              </p:txBody>
            </p:sp>
            <p:sp>
              <p:nvSpPr>
                <p:cNvPr id="32" name="Rectangle 31">
                  <a:extLst>
                    <a:ext uri="{FF2B5EF4-FFF2-40B4-BE49-F238E27FC236}">
                      <a16:creationId xmlns:a16="http://schemas.microsoft.com/office/drawing/2014/main" id="{2B29FAFB-2E6C-49B6-9F53-D6E436B66FE8}"/>
                    </a:ext>
                  </a:extLst>
                </p:cNvPr>
                <p:cNvSpPr/>
                <p:nvPr/>
              </p:nvSpPr>
              <p:spPr>
                <a:xfrm>
                  <a:off x="6526751" y="4060624"/>
                  <a:ext cx="360040" cy="825867"/>
                </a:xfrm>
                <a:prstGeom prst="rect">
                  <a:avLst/>
                </a:prstGeom>
                <a:solidFill>
                  <a:srgbClr val="00802F"/>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latin typeface="Titillium Web"/>
                    </a:rPr>
                    <a:t>C</a:t>
                  </a:r>
                </a:p>
              </p:txBody>
            </p:sp>
            <p:sp>
              <p:nvSpPr>
                <p:cNvPr id="42" name="Rectangle 41">
                  <a:extLst>
                    <a:ext uri="{FF2B5EF4-FFF2-40B4-BE49-F238E27FC236}">
                      <a16:creationId xmlns:a16="http://schemas.microsoft.com/office/drawing/2014/main" id="{ACCF3FED-39AB-4815-B4D4-0F01D1840984}"/>
                    </a:ext>
                  </a:extLst>
                </p:cNvPr>
                <p:cNvSpPr/>
                <p:nvPr/>
              </p:nvSpPr>
              <p:spPr>
                <a:xfrm>
                  <a:off x="6526751" y="5036049"/>
                  <a:ext cx="360040" cy="1345701"/>
                </a:xfrm>
                <a:prstGeom prst="rect">
                  <a:avLst/>
                </a:prstGeom>
                <a:solidFill>
                  <a:schemeClr val="accent5"/>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Titillium Web"/>
                  </a:endParaRPr>
                </a:p>
              </p:txBody>
            </p:sp>
          </p:grpSp>
        </p:grpSp>
        <p:grpSp>
          <p:nvGrpSpPr>
            <p:cNvPr id="44" name="Group 43">
              <a:extLst>
                <a:ext uri="{FF2B5EF4-FFF2-40B4-BE49-F238E27FC236}">
                  <a16:creationId xmlns:a16="http://schemas.microsoft.com/office/drawing/2014/main" id="{514E9226-635F-4443-812F-450D46E0C44D}"/>
                </a:ext>
              </a:extLst>
            </p:cNvPr>
            <p:cNvGrpSpPr/>
            <p:nvPr/>
          </p:nvGrpSpPr>
          <p:grpSpPr>
            <a:xfrm>
              <a:off x="5911113" y="2204864"/>
              <a:ext cx="371361" cy="4176886"/>
              <a:chOff x="5911113" y="2204864"/>
              <a:chExt cx="371361" cy="4176886"/>
            </a:xfrm>
          </p:grpSpPr>
          <p:cxnSp>
            <p:nvCxnSpPr>
              <p:cNvPr id="21" name="Straight Connector 20">
                <a:extLst>
                  <a:ext uri="{FF2B5EF4-FFF2-40B4-BE49-F238E27FC236}">
                    <a16:creationId xmlns:a16="http://schemas.microsoft.com/office/drawing/2014/main" id="{F601BADA-2611-490D-8760-DE9D16BF55C8}"/>
                  </a:ext>
                </a:extLst>
              </p:cNvPr>
              <p:cNvCxnSpPr>
                <a:cxnSpLocks/>
              </p:cNvCxnSpPr>
              <p:nvPr/>
            </p:nvCxnSpPr>
            <p:spPr>
              <a:xfrm>
                <a:off x="6096794" y="2204864"/>
                <a:ext cx="0" cy="4176886"/>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529244FF-E6F9-481F-A6DC-83114C305743}"/>
                  </a:ext>
                </a:extLst>
              </p:cNvPr>
              <p:cNvGrpSpPr>
                <a:grpSpLocks noChangeAspect="1"/>
              </p:cNvGrpSpPr>
              <p:nvPr/>
            </p:nvGrpSpPr>
            <p:grpSpPr>
              <a:xfrm>
                <a:off x="5911113" y="3927607"/>
                <a:ext cx="371361" cy="371361"/>
                <a:chOff x="982662" y="1847850"/>
                <a:chExt cx="269875" cy="269875"/>
              </a:xfrm>
            </p:grpSpPr>
            <p:sp>
              <p:nvSpPr>
                <p:cNvPr id="23" name="Oval 22">
                  <a:extLst>
                    <a:ext uri="{FF2B5EF4-FFF2-40B4-BE49-F238E27FC236}">
                      <a16:creationId xmlns:a16="http://schemas.microsoft.com/office/drawing/2014/main" id="{2EDF352E-C558-46DB-8E50-D428AF812DA4}"/>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Titillium Web"/>
                  </a:endParaRPr>
                </a:p>
              </p:txBody>
            </p:sp>
            <p:sp>
              <p:nvSpPr>
                <p:cNvPr id="24" name="Freeform 51">
                  <a:extLst>
                    <a:ext uri="{FF2B5EF4-FFF2-40B4-BE49-F238E27FC236}">
                      <a16:creationId xmlns:a16="http://schemas.microsoft.com/office/drawing/2014/main" id="{15A4B0F4-26E2-46C7-B6C1-74BAE1605A92}"/>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Titillium Web"/>
                  </a:endParaRPr>
                </a:p>
              </p:txBody>
            </p:sp>
          </p:grpSp>
        </p:grpSp>
      </p:grpSp>
      <p:sp>
        <p:nvSpPr>
          <p:cNvPr id="45" name="Rectangle 44">
            <a:extLst>
              <a:ext uri="{FF2B5EF4-FFF2-40B4-BE49-F238E27FC236}">
                <a16:creationId xmlns:a16="http://schemas.microsoft.com/office/drawing/2014/main" id="{DA17BBFA-388C-47E3-88BA-B3B54CEAAC01}"/>
              </a:ext>
            </a:extLst>
          </p:cNvPr>
          <p:cNvSpPr/>
          <p:nvPr/>
        </p:nvSpPr>
        <p:spPr>
          <a:xfrm>
            <a:off x="-2859985" y="0"/>
            <a:ext cx="2664296" cy="720080"/>
          </a:xfrm>
          <a:prstGeom prst="rect">
            <a:avLst/>
          </a:prstGeom>
          <a:solidFill>
            <a:srgbClr val="FFFED9"/>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Presenter: Kaan</a:t>
            </a:r>
            <a:endParaRPr lang="en-US">
              <a:solidFill>
                <a:schemeClr val="tx1"/>
              </a:solidFill>
            </a:endParaRPr>
          </a:p>
        </p:txBody>
      </p:sp>
    </p:spTree>
    <p:extLst>
      <p:ext uri="{BB962C8B-B14F-4D97-AF65-F5344CB8AC3E}">
        <p14:creationId xmlns:p14="http://schemas.microsoft.com/office/powerpoint/2010/main" val="2490957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31" grpId="0"/>
      <p:bldP spid="33" grpId="0"/>
      <p:bldP spid="4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7CE73F4-535C-4D1E-B3A7-D99F89C93D45}"/>
              </a:ext>
            </a:extLst>
          </p:cNvPr>
          <p:cNvGraphicFramePr>
            <a:graphicFrameLocks noChangeAspect="1"/>
          </p:cNvGraphicFramePr>
          <p:nvPr>
            <p:custDataLst>
              <p:tags r:id="rId2"/>
            </p:custDataLst>
            <p:extLst>
              <p:ext uri="{D42A27DB-BD31-4B8C-83A1-F6EECF244321}">
                <p14:modId xmlns:p14="http://schemas.microsoft.com/office/powerpoint/2010/main" val="2518543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5" imgW="592" imgH="591" progId="TCLayout.ActiveDocument.1">
                  <p:embed/>
                </p:oleObj>
              </mc:Choice>
              <mc:Fallback>
                <p:oleObj name="think-cell Slide" r:id="rId5" imgW="592" imgH="591" progId="TCLayout.ActiveDocument.1">
                  <p:embed/>
                  <p:pic>
                    <p:nvPicPr>
                      <p:cNvPr id="7" name="think-cell data - do not delete" hidden="1">
                        <a:extLst>
                          <a:ext uri="{FF2B5EF4-FFF2-40B4-BE49-F238E27FC236}">
                            <a16:creationId xmlns:a16="http://schemas.microsoft.com/office/drawing/2014/main" id="{B7CE73F4-535C-4D1E-B3A7-D99F89C93D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D5CD6A-2C81-4F78-9430-47DD8AAE5BE6}"/>
              </a:ext>
            </a:extLst>
          </p:cNvPr>
          <p:cNvSpPr>
            <a:spLocks noGrp="1"/>
          </p:cNvSpPr>
          <p:nvPr>
            <p:ph type="title"/>
          </p:nvPr>
        </p:nvSpPr>
        <p:spPr/>
        <p:txBody>
          <a:bodyPr vert="horz"/>
          <a:lstStyle/>
          <a:p>
            <a:r>
              <a:rPr lang="en-US"/>
              <a:t>Domain Adaptation (2/2) - Result</a:t>
            </a:r>
          </a:p>
        </p:txBody>
      </p:sp>
      <p:sp>
        <p:nvSpPr>
          <p:cNvPr id="4" name="Slide Number Placeholder 3">
            <a:extLst>
              <a:ext uri="{FF2B5EF4-FFF2-40B4-BE49-F238E27FC236}">
                <a16:creationId xmlns:a16="http://schemas.microsoft.com/office/drawing/2014/main" id="{0230EE7B-F614-4746-9DE2-26E5CC5B8D50}"/>
              </a:ext>
            </a:extLst>
          </p:cNvPr>
          <p:cNvSpPr>
            <a:spLocks noGrp="1"/>
          </p:cNvSpPr>
          <p:nvPr>
            <p:ph type="sldNum" sz="quarter" idx="4"/>
          </p:nvPr>
        </p:nvSpPr>
        <p:spPr/>
        <p:txBody>
          <a:bodyPr/>
          <a:lstStyle/>
          <a:p>
            <a:fld id="{1FF5481D-800C-4F34-B3D6-C18BC0A4FD2D}" type="slidenum">
              <a:rPr lang="de-CH" smtClean="0"/>
              <a:pPr/>
              <a:t>7</a:t>
            </a:fld>
            <a:endParaRPr lang="de-CH"/>
          </a:p>
        </p:txBody>
      </p:sp>
      <p:sp>
        <p:nvSpPr>
          <p:cNvPr id="5" name="Footer Placeholder 4">
            <a:extLst>
              <a:ext uri="{FF2B5EF4-FFF2-40B4-BE49-F238E27FC236}">
                <a16:creationId xmlns:a16="http://schemas.microsoft.com/office/drawing/2014/main" id="{891973FF-FD80-4F05-8BE1-B08F7E737930}"/>
              </a:ext>
            </a:extLst>
          </p:cNvPr>
          <p:cNvSpPr>
            <a:spLocks noGrp="1"/>
          </p:cNvSpPr>
          <p:nvPr>
            <p:ph type="ftr" sz="quarter" idx="3"/>
          </p:nvPr>
        </p:nvSpPr>
        <p:spPr/>
        <p:txBody>
          <a:bodyPr/>
          <a:lstStyle/>
          <a:p>
            <a:r>
              <a:rPr lang="en-US" noProof="0"/>
              <a:t>Prof. Damian Borth - Artificial Intelligence &amp; Machine Learning [AIML]</a:t>
            </a:r>
          </a:p>
        </p:txBody>
      </p:sp>
      <p:sp>
        <p:nvSpPr>
          <p:cNvPr id="54" name="Rectangle 53">
            <a:extLst>
              <a:ext uri="{FF2B5EF4-FFF2-40B4-BE49-F238E27FC236}">
                <a16:creationId xmlns:a16="http://schemas.microsoft.com/office/drawing/2014/main" id="{AE27E339-1C3D-42B8-98F1-A90E420AF4F3}"/>
              </a:ext>
            </a:extLst>
          </p:cNvPr>
          <p:cNvSpPr/>
          <p:nvPr/>
        </p:nvSpPr>
        <p:spPr>
          <a:xfrm>
            <a:off x="8686800" y="4761146"/>
            <a:ext cx="2809874" cy="1554272"/>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spcAft>
                <a:spcPts val="600"/>
              </a:spcAft>
            </a:pPr>
            <a:r>
              <a:rPr lang="de-CH" sz="1600">
                <a:solidFill>
                  <a:schemeClr val="tx1"/>
                </a:solidFill>
                <a:latin typeface="Titillium Web"/>
              </a:rPr>
              <a:t>DA is promising given some initial results, but needs further deep-dive, e.g.:</a:t>
            </a:r>
          </a:p>
          <a:p>
            <a:pPr marL="285750" indent="-285750">
              <a:buFont typeface="Arial" panose="020B0604020202020204" pitchFamily="34" charset="0"/>
              <a:buChar char="•"/>
            </a:pPr>
            <a:r>
              <a:rPr lang="de-CH" sz="1600">
                <a:solidFill>
                  <a:schemeClr val="tx1"/>
                </a:solidFill>
                <a:latin typeface="Titillium Web"/>
              </a:rPr>
              <a:t>Implementing lower-layer feature extracors </a:t>
            </a:r>
          </a:p>
          <a:p>
            <a:pPr marL="285750" indent="-285750">
              <a:buFont typeface="Arial" panose="020B0604020202020204" pitchFamily="34" charset="0"/>
              <a:buChar char="•"/>
            </a:pPr>
            <a:r>
              <a:rPr lang="de-CH" sz="1600">
                <a:solidFill>
                  <a:schemeClr val="tx1"/>
                </a:solidFill>
                <a:latin typeface="Titillium Web"/>
              </a:rPr>
              <a:t>Adjusting the </a:t>
            </a:r>
            <a:r>
              <a:rPr lang="el-GR" sz="1600">
                <a:solidFill>
                  <a:schemeClr val="tx1"/>
                </a:solidFill>
              </a:rPr>
              <a:t>λ</a:t>
            </a:r>
            <a:r>
              <a:rPr lang="de-CH" sz="1600">
                <a:solidFill>
                  <a:schemeClr val="tx1"/>
                </a:solidFill>
                <a:latin typeface="Titillium Web"/>
              </a:rPr>
              <a:t> in the GRL</a:t>
            </a:r>
          </a:p>
        </p:txBody>
      </p:sp>
      <p:grpSp>
        <p:nvGrpSpPr>
          <p:cNvPr id="41" name="Group 40">
            <a:extLst>
              <a:ext uri="{FF2B5EF4-FFF2-40B4-BE49-F238E27FC236}">
                <a16:creationId xmlns:a16="http://schemas.microsoft.com/office/drawing/2014/main" id="{526ED631-AFE7-439A-ADCE-F571B38DF12D}"/>
              </a:ext>
            </a:extLst>
          </p:cNvPr>
          <p:cNvGrpSpPr/>
          <p:nvPr/>
        </p:nvGrpSpPr>
        <p:grpSpPr>
          <a:xfrm>
            <a:off x="696912" y="1844824"/>
            <a:ext cx="10799762" cy="4536926"/>
            <a:chOff x="696912" y="1844824"/>
            <a:chExt cx="10799762" cy="4536926"/>
          </a:xfrm>
        </p:grpSpPr>
        <p:sp>
          <p:nvSpPr>
            <p:cNvPr id="18" name="Rectangle 17">
              <a:extLst>
                <a:ext uri="{FF2B5EF4-FFF2-40B4-BE49-F238E27FC236}">
                  <a16:creationId xmlns:a16="http://schemas.microsoft.com/office/drawing/2014/main" id="{F53A36BB-CB92-467C-AE9D-9FF9282C40D0}"/>
                </a:ext>
              </a:extLst>
            </p:cNvPr>
            <p:cNvSpPr/>
            <p:nvPr/>
          </p:nvSpPr>
          <p:spPr>
            <a:xfrm>
              <a:off x="8686800" y="1844824"/>
              <a:ext cx="2809874" cy="738664"/>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r>
                <a:rPr lang="en-US" sz="1600">
                  <a:solidFill>
                    <a:schemeClr val="tx1"/>
                  </a:solidFill>
                  <a:latin typeface="Titillium Web"/>
                </a:rPr>
                <a:t>Best result achieved with ResNet18 (vs. ResNet50 despite same setup)</a:t>
              </a:r>
              <a:endParaRPr lang="de-CH" sz="1600">
                <a:solidFill>
                  <a:schemeClr val="tx1"/>
                </a:solidFill>
                <a:latin typeface="Titillium Web"/>
              </a:endParaRPr>
            </a:p>
          </p:txBody>
        </p:sp>
        <p:sp>
          <p:nvSpPr>
            <p:cNvPr id="52" name="Rectangle 51">
              <a:extLst>
                <a:ext uri="{FF2B5EF4-FFF2-40B4-BE49-F238E27FC236}">
                  <a16:creationId xmlns:a16="http://schemas.microsoft.com/office/drawing/2014/main" id="{CBF3B004-EF22-4538-9C19-4AAE0864DEF4}"/>
                </a:ext>
              </a:extLst>
            </p:cNvPr>
            <p:cNvSpPr/>
            <p:nvPr/>
          </p:nvSpPr>
          <p:spPr>
            <a:xfrm>
              <a:off x="8686800" y="2816931"/>
              <a:ext cx="2809874" cy="738664"/>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r>
                <a:rPr lang="de-CH" sz="1600">
                  <a:solidFill>
                    <a:schemeClr val="tx1"/>
                  </a:solidFill>
                  <a:latin typeface="Titillium Web"/>
                </a:rPr>
                <a:t>ResNet18 </a:t>
              </a:r>
              <a:r>
                <a:rPr lang="de-CH" sz="1600" err="1">
                  <a:solidFill>
                    <a:schemeClr val="tx1"/>
                  </a:solidFill>
                  <a:latin typeface="Titillium Web"/>
                </a:rPr>
                <a:t>with</a:t>
              </a:r>
              <a:r>
                <a:rPr lang="de-CH" sz="1600">
                  <a:solidFill>
                    <a:schemeClr val="tx1"/>
                  </a:solidFill>
                  <a:latin typeface="Titillium Web"/>
                </a:rPr>
                <a:t> DA </a:t>
              </a:r>
              <a:r>
                <a:rPr lang="de-CH" sz="1600" err="1">
                  <a:solidFill>
                    <a:schemeClr val="tx1"/>
                  </a:solidFill>
                  <a:latin typeface="Titillium Web"/>
                </a:rPr>
                <a:t>performed</a:t>
              </a:r>
              <a:r>
                <a:rPr lang="de-CH" sz="1600">
                  <a:solidFill>
                    <a:schemeClr val="tx1"/>
                  </a:solidFill>
                  <a:latin typeface="Titillium Web"/>
                </a:rPr>
                <a:t> </a:t>
              </a:r>
              <a:r>
                <a:rPr lang="de-CH" sz="1600" err="1">
                  <a:solidFill>
                    <a:schemeClr val="tx1"/>
                  </a:solidFill>
                  <a:latin typeface="Titillium Web"/>
                </a:rPr>
                <a:t>better</a:t>
              </a:r>
              <a:r>
                <a:rPr lang="de-CH" sz="1600">
                  <a:solidFill>
                    <a:schemeClr val="tx1"/>
                  </a:solidFill>
                  <a:latin typeface="Titillium Web"/>
                </a:rPr>
                <a:t> than </a:t>
              </a:r>
              <a:r>
                <a:rPr lang="de-CH" sz="1600" err="1">
                  <a:solidFill>
                    <a:schemeClr val="tx1"/>
                  </a:solidFill>
                  <a:latin typeface="Titillium Web"/>
                </a:rPr>
                <a:t>without</a:t>
              </a:r>
              <a:r>
                <a:rPr lang="de-CH" sz="1600">
                  <a:solidFill>
                    <a:schemeClr val="tx1"/>
                  </a:solidFill>
                  <a:latin typeface="Titillium Web"/>
                </a:rPr>
                <a:t> – </a:t>
              </a:r>
              <a:r>
                <a:rPr lang="de-CH" sz="1600" err="1">
                  <a:solidFill>
                    <a:schemeClr val="tx1"/>
                  </a:solidFill>
                  <a:latin typeface="Titillium Web"/>
                </a:rPr>
                <a:t>indicating</a:t>
              </a:r>
              <a:r>
                <a:rPr lang="de-CH" sz="1600">
                  <a:solidFill>
                    <a:schemeClr val="tx1"/>
                  </a:solidFill>
                  <a:latin typeface="Titillium Web"/>
                </a:rPr>
                <a:t> </a:t>
              </a:r>
              <a:r>
                <a:rPr lang="de-CH" sz="1600" err="1">
                  <a:solidFill>
                    <a:schemeClr val="tx1"/>
                  </a:solidFill>
                  <a:latin typeface="Titillium Web"/>
                </a:rPr>
                <a:t>that</a:t>
              </a:r>
              <a:r>
                <a:rPr lang="de-CH" sz="1600">
                  <a:solidFill>
                    <a:schemeClr val="tx1"/>
                  </a:solidFill>
                  <a:latin typeface="Titillium Web"/>
                </a:rPr>
                <a:t> DA </a:t>
              </a:r>
              <a:r>
                <a:rPr lang="de-CH" sz="1600" err="1">
                  <a:solidFill>
                    <a:schemeClr val="tx1"/>
                  </a:solidFill>
                  <a:latin typeface="Titillium Web"/>
                </a:rPr>
                <a:t>has</a:t>
              </a:r>
              <a:r>
                <a:rPr lang="de-CH" sz="1600">
                  <a:solidFill>
                    <a:schemeClr val="tx1"/>
                  </a:solidFill>
                  <a:latin typeface="Titillium Web"/>
                </a:rPr>
                <a:t> </a:t>
              </a:r>
              <a:r>
                <a:rPr lang="de-CH" sz="1600" err="1">
                  <a:solidFill>
                    <a:schemeClr val="tx1"/>
                  </a:solidFill>
                  <a:latin typeface="Titillium Web"/>
                </a:rPr>
                <a:t>had</a:t>
              </a:r>
              <a:r>
                <a:rPr lang="de-CH" sz="1600">
                  <a:solidFill>
                    <a:schemeClr val="tx1"/>
                  </a:solidFill>
                  <a:latin typeface="Titillium Web"/>
                </a:rPr>
                <a:t> </a:t>
              </a:r>
              <a:r>
                <a:rPr lang="de-CH" sz="1600" err="1">
                  <a:solidFill>
                    <a:schemeClr val="tx1"/>
                  </a:solidFill>
                  <a:latin typeface="Titillium Web"/>
                </a:rPr>
                <a:t>some</a:t>
              </a:r>
              <a:r>
                <a:rPr lang="de-CH" sz="1600">
                  <a:solidFill>
                    <a:schemeClr val="tx1"/>
                  </a:solidFill>
                  <a:latin typeface="Titillium Web"/>
                </a:rPr>
                <a:t> </a:t>
              </a:r>
              <a:r>
                <a:rPr lang="de-CH" sz="1600" err="1">
                  <a:solidFill>
                    <a:schemeClr val="tx1"/>
                  </a:solidFill>
                  <a:latin typeface="Titillium Web"/>
                </a:rPr>
                <a:t>impact</a:t>
              </a:r>
              <a:endParaRPr lang="de-CH" sz="1600">
                <a:solidFill>
                  <a:schemeClr val="tx1"/>
                </a:solidFill>
                <a:latin typeface="Titillium Web"/>
              </a:endParaRPr>
            </a:p>
          </p:txBody>
        </p:sp>
        <p:sp>
          <p:nvSpPr>
            <p:cNvPr id="27" name="Rectangle 26">
              <a:extLst>
                <a:ext uri="{FF2B5EF4-FFF2-40B4-BE49-F238E27FC236}">
                  <a16:creationId xmlns:a16="http://schemas.microsoft.com/office/drawing/2014/main" id="{98A9886D-9876-4D80-AD34-9524991DEB50}"/>
                </a:ext>
              </a:extLst>
            </p:cNvPr>
            <p:cNvSpPr/>
            <p:nvPr/>
          </p:nvSpPr>
          <p:spPr>
            <a:xfrm>
              <a:off x="696912" y="2499915"/>
              <a:ext cx="1818197" cy="337210"/>
            </a:xfrm>
            <a:prstGeom prst="rect">
              <a:avLst/>
            </a:prstGeom>
            <a:noFill/>
            <a:ln w="12700" cap="flat" cmpd="sng" algn="ctr">
              <a:noFill/>
              <a:prstDash val="solid"/>
            </a:ln>
            <a:effectLst/>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r>
                <a:rPr lang="en-US" sz="1400" b="1">
                  <a:solidFill>
                    <a:srgbClr val="4D4D4D"/>
                  </a:solidFill>
                  <a:latin typeface="Titillium Web"/>
                </a:rPr>
                <a:t>Feature Extractor</a:t>
              </a:r>
            </a:p>
          </p:txBody>
        </p:sp>
        <p:sp>
          <p:nvSpPr>
            <p:cNvPr id="29" name="Rectangle 28">
              <a:extLst>
                <a:ext uri="{FF2B5EF4-FFF2-40B4-BE49-F238E27FC236}">
                  <a16:creationId xmlns:a16="http://schemas.microsoft.com/office/drawing/2014/main" id="{83CA8514-B0F7-4384-A1BF-A4D9DABDF4CA}"/>
                </a:ext>
              </a:extLst>
            </p:cNvPr>
            <p:cNvSpPr/>
            <p:nvPr/>
          </p:nvSpPr>
          <p:spPr>
            <a:xfrm>
              <a:off x="696913" y="2998370"/>
              <a:ext cx="1871562" cy="353911"/>
            </a:xfrm>
            <a:prstGeom prst="rect">
              <a:avLst/>
            </a:prstGeom>
            <a:solidFill>
              <a:schemeClr val="accent1">
                <a:lumMod val="100000"/>
                <a:tint val="40000"/>
              </a:schemeClr>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r>
                <a:rPr lang="en-US" sz="1400">
                  <a:solidFill>
                    <a:schemeClr val="dk1"/>
                  </a:solidFill>
                  <a:latin typeface="Titillium Web"/>
                </a:rPr>
                <a:t>ResNet50 </a:t>
              </a:r>
              <a:r>
                <a:rPr lang="en-US" sz="1400" i="1">
                  <a:solidFill>
                    <a:schemeClr val="dk1"/>
                  </a:solidFill>
                  <a:latin typeface="Titillium Web"/>
                </a:rPr>
                <a:t>(w/ DA)</a:t>
              </a:r>
            </a:p>
          </p:txBody>
        </p:sp>
        <p:sp>
          <p:nvSpPr>
            <p:cNvPr id="31" name="Rectangle 30">
              <a:extLst>
                <a:ext uri="{FF2B5EF4-FFF2-40B4-BE49-F238E27FC236}">
                  <a16:creationId xmlns:a16="http://schemas.microsoft.com/office/drawing/2014/main" id="{08089421-98D1-40EF-80AD-3B5AFD6E9878}"/>
                </a:ext>
              </a:extLst>
            </p:cNvPr>
            <p:cNvSpPr/>
            <p:nvPr/>
          </p:nvSpPr>
          <p:spPr>
            <a:xfrm>
              <a:off x="696913" y="3516530"/>
              <a:ext cx="1871562" cy="353911"/>
            </a:xfrm>
            <a:prstGeom prst="rect">
              <a:avLst/>
            </a:prstGeom>
            <a:solidFill>
              <a:srgbClr val="E7EAE8"/>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r>
                <a:rPr lang="en-US" sz="1400">
                  <a:solidFill>
                    <a:schemeClr val="dk1"/>
                  </a:solidFill>
                  <a:latin typeface="Titillium Web"/>
                </a:rPr>
                <a:t>ResNet18 </a:t>
              </a:r>
              <a:r>
                <a:rPr lang="en-US" sz="1400" i="1">
                  <a:solidFill>
                    <a:schemeClr val="dk1"/>
                  </a:solidFill>
                  <a:latin typeface="Titillium Web"/>
                </a:rPr>
                <a:t>(w/ DA)</a:t>
              </a:r>
            </a:p>
          </p:txBody>
        </p:sp>
        <p:sp>
          <p:nvSpPr>
            <p:cNvPr id="33" name="Rectangle 32">
              <a:extLst>
                <a:ext uri="{FF2B5EF4-FFF2-40B4-BE49-F238E27FC236}">
                  <a16:creationId xmlns:a16="http://schemas.microsoft.com/office/drawing/2014/main" id="{269D0FFA-3A56-47A3-AC7E-DA65D74A830E}"/>
                </a:ext>
              </a:extLst>
            </p:cNvPr>
            <p:cNvSpPr/>
            <p:nvPr/>
          </p:nvSpPr>
          <p:spPr>
            <a:xfrm>
              <a:off x="696913" y="3896855"/>
              <a:ext cx="1871562" cy="353911"/>
            </a:xfrm>
            <a:prstGeom prst="rect">
              <a:avLst/>
            </a:prstGeom>
            <a:solidFill>
              <a:srgbClr val="E7EAE8"/>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r>
                <a:rPr lang="en-US" sz="1400">
                  <a:solidFill>
                    <a:schemeClr val="dk1"/>
                  </a:solidFill>
                  <a:latin typeface="Titillium Web"/>
                </a:rPr>
                <a:t>   </a:t>
              </a:r>
              <a:r>
                <a:rPr lang="en-US" sz="1400" i="1">
                  <a:solidFill>
                    <a:schemeClr val="dk1"/>
                  </a:solidFill>
                  <a:latin typeface="Titillium Web"/>
                </a:rPr>
                <a:t>ResNet18 (w</a:t>
              </a:r>
              <a:r>
                <a:rPr lang="de-CH" sz="1400" i="1">
                  <a:solidFill>
                    <a:schemeClr val="dk1"/>
                  </a:solidFill>
                  <a:latin typeface="Titillium Web"/>
                </a:rPr>
                <a:t>/o</a:t>
              </a:r>
              <a:r>
                <a:rPr lang="en-US" sz="1400" i="1">
                  <a:solidFill>
                    <a:schemeClr val="dk1"/>
                  </a:solidFill>
                  <a:latin typeface="Titillium Web"/>
                </a:rPr>
                <a:t> DA)</a:t>
              </a:r>
            </a:p>
          </p:txBody>
        </p:sp>
        <p:cxnSp>
          <p:nvCxnSpPr>
            <p:cNvPr id="46" name="Straight Connector 45">
              <a:extLst>
                <a:ext uri="{FF2B5EF4-FFF2-40B4-BE49-F238E27FC236}">
                  <a16:creationId xmlns:a16="http://schemas.microsoft.com/office/drawing/2014/main" id="{4D54E876-C8DD-43F3-9D1C-1A103FF3E18E}"/>
                </a:ext>
              </a:extLst>
            </p:cNvPr>
            <p:cNvCxnSpPr/>
            <p:nvPr/>
          </p:nvCxnSpPr>
          <p:spPr>
            <a:xfrm>
              <a:off x="696912" y="2837125"/>
              <a:ext cx="1818197" cy="0"/>
            </a:xfrm>
            <a:prstGeom prst="line">
              <a:avLst/>
            </a:prstGeom>
            <a:ln w="9525" cap="flat" cmpd="sng" algn="ctr">
              <a:solidFill>
                <a:srgbClr val="64646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32890AC7-A87C-4D89-A9B7-7A144A1218B4}"/>
                </a:ext>
              </a:extLst>
            </p:cNvPr>
            <p:cNvSpPr/>
            <p:nvPr/>
          </p:nvSpPr>
          <p:spPr>
            <a:xfrm>
              <a:off x="2569569" y="2499915"/>
              <a:ext cx="670431" cy="337210"/>
            </a:xfrm>
            <a:prstGeom prst="rect">
              <a:avLst/>
            </a:prstGeom>
            <a:noFill/>
            <a:ln w="12700" cap="flat" cmpd="sng" algn="ctr">
              <a:noFill/>
              <a:prstDash val="solid"/>
            </a:ln>
            <a:effectLst/>
            <a:extLst>
              <a:ext uri="{909E8E84-426E-40DD-AFC4-6F175D3DCCD1}">
                <a14:hiddenFill xmlns:a14="http://schemas.microsoft.com/office/drawing/2010/main">
                  <a:solidFill>
                    <a:schemeClr val="accent1">
                      <a:lumMod val="100000"/>
                    </a:schemeClr>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r>
                <a:rPr lang="en-US" sz="1400" b="1">
                  <a:solidFill>
                    <a:srgbClr val="4D4D4D"/>
                  </a:solidFill>
                  <a:latin typeface="Titillium Web"/>
                </a:rPr>
                <a:t>Result</a:t>
              </a:r>
            </a:p>
          </p:txBody>
        </p:sp>
        <p:sp>
          <p:nvSpPr>
            <p:cNvPr id="30" name="Rectangle 29">
              <a:extLst>
                <a:ext uri="{FF2B5EF4-FFF2-40B4-BE49-F238E27FC236}">
                  <a16:creationId xmlns:a16="http://schemas.microsoft.com/office/drawing/2014/main" id="{402E01B9-DF68-4D7A-98E6-EF86855E8790}"/>
                </a:ext>
              </a:extLst>
            </p:cNvPr>
            <p:cNvSpPr/>
            <p:nvPr/>
          </p:nvSpPr>
          <p:spPr>
            <a:xfrm>
              <a:off x="2519993" y="2998370"/>
              <a:ext cx="720007" cy="353911"/>
            </a:xfrm>
            <a:prstGeom prst="rect">
              <a:avLst/>
            </a:prstGeom>
            <a:solidFill>
              <a:schemeClr val="accent1">
                <a:lumMod val="100000"/>
                <a:tint val="40000"/>
              </a:schemeClr>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r>
                <a:rPr lang="en-US" sz="1400">
                  <a:solidFill>
                    <a:schemeClr val="dk1"/>
                  </a:solidFill>
                  <a:latin typeface="Titillium Web"/>
                </a:rPr>
                <a:t>50.4%</a:t>
              </a:r>
            </a:p>
          </p:txBody>
        </p:sp>
        <p:sp>
          <p:nvSpPr>
            <p:cNvPr id="32" name="Rectangle 31">
              <a:extLst>
                <a:ext uri="{FF2B5EF4-FFF2-40B4-BE49-F238E27FC236}">
                  <a16:creationId xmlns:a16="http://schemas.microsoft.com/office/drawing/2014/main" id="{9B03D03E-9F67-449B-A21C-AFEDAFC6A2DF}"/>
                </a:ext>
              </a:extLst>
            </p:cNvPr>
            <p:cNvSpPr/>
            <p:nvPr/>
          </p:nvSpPr>
          <p:spPr>
            <a:xfrm>
              <a:off x="2519993" y="3516530"/>
              <a:ext cx="720007" cy="353911"/>
            </a:xfrm>
            <a:prstGeom prst="rect">
              <a:avLst/>
            </a:prstGeom>
            <a:solidFill>
              <a:srgbClr val="E7EAE8"/>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r>
                <a:rPr lang="en-US" sz="1400">
                  <a:solidFill>
                    <a:schemeClr val="dk1"/>
                  </a:solidFill>
                  <a:latin typeface="Titillium Web"/>
                </a:rPr>
                <a:t>57.4%</a:t>
              </a:r>
            </a:p>
          </p:txBody>
        </p:sp>
        <p:sp>
          <p:nvSpPr>
            <p:cNvPr id="34" name="Rectangle 33">
              <a:extLst>
                <a:ext uri="{FF2B5EF4-FFF2-40B4-BE49-F238E27FC236}">
                  <a16:creationId xmlns:a16="http://schemas.microsoft.com/office/drawing/2014/main" id="{7E337829-4A4F-4E5F-87BE-04014C670FDB}"/>
                </a:ext>
              </a:extLst>
            </p:cNvPr>
            <p:cNvSpPr/>
            <p:nvPr/>
          </p:nvSpPr>
          <p:spPr>
            <a:xfrm>
              <a:off x="2519993" y="3896855"/>
              <a:ext cx="720007" cy="353911"/>
            </a:xfrm>
            <a:prstGeom prst="rect">
              <a:avLst/>
            </a:prstGeom>
            <a:solidFill>
              <a:srgbClr val="E7EAE8"/>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r>
                <a:rPr lang="en-US" sz="1400">
                  <a:solidFill>
                    <a:schemeClr val="dk1"/>
                  </a:solidFill>
                  <a:latin typeface="Titillium Web"/>
                </a:rPr>
                <a:t>52.6%</a:t>
              </a:r>
            </a:p>
          </p:txBody>
        </p:sp>
        <p:cxnSp>
          <p:nvCxnSpPr>
            <p:cNvPr id="47" name="Straight Connector 46">
              <a:extLst>
                <a:ext uri="{FF2B5EF4-FFF2-40B4-BE49-F238E27FC236}">
                  <a16:creationId xmlns:a16="http://schemas.microsoft.com/office/drawing/2014/main" id="{D45B9820-43EE-4BC4-A897-45DE57E77E7B}"/>
                </a:ext>
              </a:extLst>
            </p:cNvPr>
            <p:cNvCxnSpPr/>
            <p:nvPr/>
          </p:nvCxnSpPr>
          <p:spPr>
            <a:xfrm>
              <a:off x="2569569" y="2837125"/>
              <a:ext cx="670431" cy="0"/>
            </a:xfrm>
            <a:prstGeom prst="line">
              <a:avLst/>
            </a:prstGeom>
            <a:ln w="9525" cap="flat" cmpd="sng" algn="ctr">
              <a:solidFill>
                <a:srgbClr val="64646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EF1CD033-5942-47FA-85F8-52BEE83F95C4}"/>
                </a:ext>
              </a:extLst>
            </p:cNvPr>
            <p:cNvSpPr/>
            <p:nvPr/>
          </p:nvSpPr>
          <p:spPr>
            <a:xfrm>
              <a:off x="696913" y="4395492"/>
              <a:ext cx="2543087" cy="1986258"/>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spcAft>
                  <a:spcPts val="600"/>
                </a:spcAft>
                <a:buFont typeface="Arial" panose="020B0604020202020204" pitchFamily="34" charset="0"/>
                <a:buChar char="•"/>
              </a:pPr>
              <a:r>
                <a:rPr lang="de-CH" sz="1400">
                  <a:solidFill>
                    <a:schemeClr val="tx1"/>
                  </a:solidFill>
                  <a:latin typeface="Titillium Web"/>
                </a:rPr>
                <a:t>All </a:t>
              </a:r>
              <a:r>
                <a:rPr lang="de-CH" sz="1400" err="1">
                  <a:solidFill>
                    <a:schemeClr val="tx1"/>
                  </a:solidFill>
                  <a:latin typeface="Titillium Web"/>
                </a:rPr>
                <a:t>results</a:t>
              </a:r>
              <a:r>
                <a:rPr lang="de-CH" sz="1400">
                  <a:solidFill>
                    <a:schemeClr val="tx1"/>
                  </a:solidFill>
                  <a:latin typeface="Titillium Web"/>
                </a:rPr>
                <a:t> </a:t>
              </a:r>
              <a:r>
                <a:rPr lang="de-CH" sz="1400" err="1">
                  <a:solidFill>
                    <a:schemeClr val="tx1"/>
                  </a:solidFill>
                  <a:latin typeface="Titillium Web"/>
                </a:rPr>
                <a:t>are</a:t>
              </a:r>
              <a:r>
                <a:rPr lang="de-CH" sz="1400">
                  <a:solidFill>
                    <a:schemeClr val="tx1"/>
                  </a:solidFill>
                  <a:latin typeface="Titillium Web"/>
                </a:rPr>
                <a:t> </a:t>
              </a:r>
              <a:r>
                <a:rPr lang="de-CH" sz="1400" err="1">
                  <a:solidFill>
                    <a:schemeClr val="tx1"/>
                  </a:solidFill>
                  <a:latin typeface="Titillium Web"/>
                </a:rPr>
                <a:t>based</a:t>
              </a:r>
              <a:r>
                <a:rPr lang="de-CH" sz="1400">
                  <a:solidFill>
                    <a:schemeClr val="tx1"/>
                  </a:solidFill>
                  <a:latin typeface="Titillium Web"/>
                </a:rPr>
                <a:t> on </a:t>
              </a:r>
              <a:r>
                <a:rPr lang="de-CH" sz="1400" err="1">
                  <a:solidFill>
                    <a:schemeClr val="tx1"/>
                  </a:solidFill>
                  <a:latin typeface="Titillium Web"/>
                </a:rPr>
                <a:t>the</a:t>
              </a:r>
              <a:r>
                <a:rPr lang="de-CH" sz="1400">
                  <a:solidFill>
                    <a:schemeClr val="tx1"/>
                  </a:solidFill>
                  <a:latin typeface="Titillium Web"/>
                </a:rPr>
                <a:t> same </a:t>
              </a:r>
              <a:r>
                <a:rPr lang="de-CH" sz="1400" err="1">
                  <a:solidFill>
                    <a:schemeClr val="tx1"/>
                  </a:solidFill>
                  <a:latin typeface="Titillium Web"/>
                </a:rPr>
                <a:t>data</a:t>
              </a:r>
              <a:r>
                <a:rPr lang="de-CH" sz="1400">
                  <a:solidFill>
                    <a:schemeClr val="tx1"/>
                  </a:solidFill>
                  <a:latin typeface="Titillium Web"/>
                </a:rPr>
                <a:t> </a:t>
              </a:r>
              <a:r>
                <a:rPr lang="de-CH" sz="1400" err="1">
                  <a:solidFill>
                    <a:schemeClr val="tx1"/>
                  </a:solidFill>
                  <a:latin typeface="Titillium Web"/>
                </a:rPr>
                <a:t>transformations</a:t>
              </a:r>
              <a:endParaRPr lang="de-CH" sz="1400">
                <a:solidFill>
                  <a:schemeClr val="tx1"/>
                </a:solidFill>
                <a:latin typeface="Titillium Web"/>
              </a:endParaRPr>
            </a:p>
            <a:p>
              <a:pPr marL="180975" indent="-180975">
                <a:spcAft>
                  <a:spcPts val="600"/>
                </a:spcAft>
                <a:buFont typeface="Arial" panose="020B0604020202020204" pitchFamily="34" charset="0"/>
                <a:buChar char="•"/>
              </a:pPr>
              <a:r>
                <a:rPr lang="de-CH" sz="1400">
                  <a:solidFill>
                    <a:schemeClr val="tx1"/>
                  </a:solidFill>
                  <a:latin typeface="Titillium Web"/>
                </a:rPr>
                <a:t>DA </a:t>
              </a:r>
              <a:r>
                <a:rPr lang="de-CH" sz="1400" err="1">
                  <a:solidFill>
                    <a:schemeClr val="tx1"/>
                  </a:solidFill>
                  <a:latin typeface="Titillium Web"/>
                </a:rPr>
                <a:t>results</a:t>
              </a:r>
              <a:r>
                <a:rPr lang="de-CH" sz="1400">
                  <a:solidFill>
                    <a:schemeClr val="tx1"/>
                  </a:solidFill>
                  <a:latin typeface="Titillium Web"/>
                </a:rPr>
                <a:t> </a:t>
              </a:r>
              <a:r>
                <a:rPr lang="de-CH" sz="1400" err="1">
                  <a:solidFill>
                    <a:schemeClr val="tx1"/>
                  </a:solidFill>
                  <a:latin typeface="Titillium Web"/>
                </a:rPr>
                <a:t>are</a:t>
              </a:r>
              <a:r>
                <a:rPr lang="de-CH" sz="1400">
                  <a:solidFill>
                    <a:schemeClr val="tx1"/>
                  </a:solidFill>
                  <a:latin typeface="Titillium Web"/>
                </a:rPr>
                <a:t> </a:t>
              </a:r>
              <a:r>
                <a:rPr lang="de-CH" sz="1400" err="1">
                  <a:solidFill>
                    <a:schemeClr val="tx1"/>
                  </a:solidFill>
                  <a:latin typeface="Titillium Web"/>
                </a:rPr>
                <a:t>based</a:t>
              </a:r>
              <a:r>
                <a:rPr lang="de-CH" sz="1400">
                  <a:solidFill>
                    <a:schemeClr val="tx1"/>
                  </a:solidFill>
                  <a:latin typeface="Titillium Web"/>
                </a:rPr>
                <a:t> on </a:t>
              </a:r>
              <a:r>
                <a:rPr lang="de-CH" sz="1400" err="1">
                  <a:solidFill>
                    <a:schemeClr val="tx1"/>
                  </a:solidFill>
                  <a:latin typeface="Titillium Web"/>
                </a:rPr>
                <a:t>based</a:t>
              </a:r>
              <a:r>
                <a:rPr lang="de-CH" sz="1400">
                  <a:solidFill>
                    <a:schemeClr val="tx1"/>
                  </a:solidFill>
                  <a:latin typeface="Titillium Web"/>
                </a:rPr>
                <a:t> on </a:t>
              </a:r>
              <a:r>
                <a:rPr lang="de-CH" sz="1400" err="1">
                  <a:solidFill>
                    <a:schemeClr val="tx1"/>
                  </a:solidFill>
                  <a:latin typeface="Titillium Web"/>
                </a:rPr>
                <a:t>the</a:t>
              </a:r>
              <a:r>
                <a:rPr lang="de-CH" sz="1400">
                  <a:solidFill>
                    <a:schemeClr val="tx1"/>
                  </a:solidFill>
                  <a:latin typeface="Titillium Web"/>
                </a:rPr>
                <a:t> same </a:t>
              </a:r>
              <a:r>
                <a:rPr lang="de-CH" sz="1400" err="1">
                  <a:solidFill>
                    <a:schemeClr val="tx1"/>
                  </a:solidFill>
                  <a:latin typeface="Titillium Web"/>
                </a:rPr>
                <a:t>setup</a:t>
              </a:r>
              <a:r>
                <a:rPr lang="de-CH" sz="1400">
                  <a:solidFill>
                    <a:schemeClr val="tx1"/>
                  </a:solidFill>
                  <a:latin typeface="Titillium Web"/>
                </a:rPr>
                <a:t> </a:t>
              </a:r>
              <a:r>
                <a:rPr lang="de-CH" sz="1400" err="1">
                  <a:solidFill>
                    <a:schemeClr val="tx1"/>
                  </a:solidFill>
                  <a:latin typeface="Titillium Web"/>
                </a:rPr>
                <a:t>as</a:t>
              </a:r>
              <a:r>
                <a:rPr lang="de-CH" sz="1400">
                  <a:solidFill>
                    <a:schemeClr val="tx1"/>
                  </a:solidFill>
                  <a:latin typeface="Titillium Web"/>
                </a:rPr>
                <a:t> </a:t>
              </a:r>
              <a:r>
                <a:rPr lang="de-CH" sz="1400" err="1">
                  <a:solidFill>
                    <a:schemeClr val="tx1"/>
                  </a:solidFill>
                  <a:latin typeface="Titillium Web"/>
                </a:rPr>
                <a:t>previously</a:t>
              </a:r>
              <a:r>
                <a:rPr lang="de-CH" sz="1400">
                  <a:solidFill>
                    <a:schemeClr val="tx1"/>
                  </a:solidFill>
                  <a:latin typeface="Titillium Web"/>
                </a:rPr>
                <a:t> </a:t>
              </a:r>
              <a:r>
                <a:rPr lang="de-CH" sz="1400" err="1">
                  <a:solidFill>
                    <a:schemeClr val="tx1"/>
                  </a:solidFill>
                  <a:latin typeface="Titillium Web"/>
                </a:rPr>
                <a:t>shown</a:t>
              </a:r>
              <a:r>
                <a:rPr lang="de-CH" sz="1400">
                  <a:solidFill>
                    <a:schemeClr val="tx1"/>
                  </a:solidFill>
                  <a:latin typeface="Titillium Web"/>
                </a:rPr>
                <a:t> </a:t>
              </a:r>
            </a:p>
            <a:p>
              <a:pPr marL="180975" indent="-180975">
                <a:spcAft>
                  <a:spcPts val="600"/>
                </a:spcAft>
                <a:buFont typeface="Arial" panose="020B0604020202020204" pitchFamily="34" charset="0"/>
                <a:buChar char="•"/>
              </a:pPr>
              <a:r>
                <a:rPr lang="de-CH" sz="1400" err="1">
                  <a:solidFill>
                    <a:schemeClr val="tx1"/>
                  </a:solidFill>
                  <a:latin typeface="Titillium Web"/>
                </a:rPr>
                <a:t>For</a:t>
              </a:r>
              <a:r>
                <a:rPr lang="de-CH" sz="1400">
                  <a:solidFill>
                    <a:schemeClr val="tx1"/>
                  </a:solidFill>
                  <a:latin typeface="Titillium Web"/>
                </a:rPr>
                <a:t> ResNet18, </a:t>
              </a:r>
              <a:r>
                <a:rPr lang="de-CH" sz="1400" err="1">
                  <a:solidFill>
                    <a:schemeClr val="tx1"/>
                  </a:solidFill>
                  <a:latin typeface="Titillium Web"/>
                </a:rPr>
                <a:t>we</a:t>
              </a:r>
              <a:r>
                <a:rPr lang="de-CH" sz="1400">
                  <a:solidFill>
                    <a:schemeClr val="tx1"/>
                  </a:solidFill>
                  <a:latin typeface="Titillium Web"/>
                </a:rPr>
                <a:t> </a:t>
              </a:r>
              <a:r>
                <a:rPr lang="de-CH" sz="1400" err="1">
                  <a:solidFill>
                    <a:schemeClr val="tx1"/>
                  </a:solidFill>
                  <a:latin typeface="Titillium Web"/>
                </a:rPr>
                <a:t>show</a:t>
              </a:r>
              <a:r>
                <a:rPr lang="de-CH" sz="1400">
                  <a:solidFill>
                    <a:schemeClr val="tx1"/>
                  </a:solidFill>
                  <a:latin typeface="Titillium Web"/>
                </a:rPr>
                <a:t> </a:t>
              </a:r>
              <a:r>
                <a:rPr lang="de-CH" sz="1400" err="1">
                  <a:solidFill>
                    <a:schemeClr val="tx1"/>
                  </a:solidFill>
                  <a:latin typeface="Titillium Web"/>
                </a:rPr>
                <a:t>the</a:t>
              </a:r>
              <a:r>
                <a:rPr lang="de-CH" sz="1400">
                  <a:solidFill>
                    <a:schemeClr val="tx1"/>
                  </a:solidFill>
                  <a:latin typeface="Titillium Web"/>
                </a:rPr>
                <a:t> </a:t>
              </a:r>
              <a:r>
                <a:rPr lang="de-CH" sz="1400" err="1">
                  <a:solidFill>
                    <a:schemeClr val="tx1"/>
                  </a:solidFill>
                  <a:latin typeface="Titillium Web"/>
                </a:rPr>
                <a:t>epoch</a:t>
              </a:r>
              <a:r>
                <a:rPr lang="de-CH" sz="1400">
                  <a:solidFill>
                    <a:schemeClr val="tx1"/>
                  </a:solidFill>
                  <a:latin typeface="Titillium Web"/>
                </a:rPr>
                <a:t> </a:t>
              </a:r>
              <a:r>
                <a:rPr lang="de-CH" sz="1400" err="1">
                  <a:solidFill>
                    <a:schemeClr val="tx1"/>
                  </a:solidFill>
                  <a:latin typeface="Titillium Web"/>
                </a:rPr>
                <a:t>with</a:t>
              </a:r>
              <a:r>
                <a:rPr lang="de-CH" sz="1400">
                  <a:solidFill>
                    <a:schemeClr val="tx1"/>
                  </a:solidFill>
                  <a:latin typeface="Titillium Web"/>
                </a:rPr>
                <a:t> </a:t>
              </a:r>
              <a:r>
                <a:rPr lang="de-CH" sz="1400" err="1">
                  <a:solidFill>
                    <a:schemeClr val="tx1"/>
                  </a:solidFill>
                  <a:latin typeface="Titillium Web"/>
                </a:rPr>
                <a:t>the</a:t>
              </a:r>
              <a:r>
                <a:rPr lang="de-CH" sz="1400">
                  <a:solidFill>
                    <a:schemeClr val="tx1"/>
                  </a:solidFill>
                  <a:latin typeface="Titillium Web"/>
                </a:rPr>
                <a:t> </a:t>
              </a:r>
              <a:r>
                <a:rPr lang="de-CH" sz="1400" err="1">
                  <a:solidFill>
                    <a:schemeClr val="tx1"/>
                  </a:solidFill>
                  <a:latin typeface="Titillium Web"/>
                </a:rPr>
                <a:t>highest</a:t>
              </a:r>
              <a:r>
                <a:rPr lang="de-CH" sz="1400">
                  <a:solidFill>
                    <a:schemeClr val="tx1"/>
                  </a:solidFill>
                  <a:latin typeface="Titillium Web"/>
                </a:rPr>
                <a:t> </a:t>
              </a:r>
              <a:r>
                <a:rPr lang="de-CH" sz="1400" err="1">
                  <a:solidFill>
                    <a:schemeClr val="tx1"/>
                  </a:solidFill>
                  <a:latin typeface="Titillium Web"/>
                </a:rPr>
                <a:t>performance</a:t>
              </a:r>
              <a:r>
                <a:rPr lang="de-CH" sz="1400">
                  <a:solidFill>
                    <a:schemeClr val="tx1"/>
                  </a:solidFill>
                  <a:latin typeface="Titillium Web"/>
                </a:rPr>
                <a:t> on </a:t>
              </a:r>
              <a:r>
                <a:rPr lang="de-CH" sz="1400" err="1">
                  <a:solidFill>
                    <a:schemeClr val="tx1"/>
                  </a:solidFill>
                  <a:latin typeface="Titillium Web"/>
                </a:rPr>
                <a:t>eval</a:t>
              </a:r>
              <a:endParaRPr lang="en-US" sz="1400">
                <a:solidFill>
                  <a:schemeClr val="tx1"/>
                </a:solidFill>
                <a:latin typeface="Titillium Web"/>
              </a:endParaRPr>
            </a:p>
          </p:txBody>
        </p:sp>
      </p:grpSp>
      <p:grpSp>
        <p:nvGrpSpPr>
          <p:cNvPr id="38" name="Group 37">
            <a:extLst>
              <a:ext uri="{FF2B5EF4-FFF2-40B4-BE49-F238E27FC236}">
                <a16:creationId xmlns:a16="http://schemas.microsoft.com/office/drawing/2014/main" id="{A146BF8C-1371-4F73-B156-2EC5444B1B04}"/>
              </a:ext>
            </a:extLst>
          </p:cNvPr>
          <p:cNvGrpSpPr/>
          <p:nvPr/>
        </p:nvGrpSpPr>
        <p:grpSpPr>
          <a:xfrm>
            <a:off x="696913" y="1664864"/>
            <a:ext cx="7831840" cy="4716886"/>
            <a:chOff x="696913" y="1664864"/>
            <a:chExt cx="7831840" cy="4716886"/>
          </a:xfrm>
        </p:grpSpPr>
        <p:cxnSp>
          <p:nvCxnSpPr>
            <p:cNvPr id="14" name="Straight Connector 13">
              <a:extLst>
                <a:ext uri="{FF2B5EF4-FFF2-40B4-BE49-F238E27FC236}">
                  <a16:creationId xmlns:a16="http://schemas.microsoft.com/office/drawing/2014/main" id="{252733F0-131A-40D9-882E-A0C0347C0D54}"/>
                </a:ext>
              </a:extLst>
            </p:cNvPr>
            <p:cNvCxnSpPr>
              <a:cxnSpLocks/>
            </p:cNvCxnSpPr>
            <p:nvPr/>
          </p:nvCxnSpPr>
          <p:spPr>
            <a:xfrm>
              <a:off x="8343073" y="1844824"/>
              <a:ext cx="0" cy="4536926"/>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C99D7DA5-71E1-44CA-9841-0198A94E494D}"/>
                </a:ext>
              </a:extLst>
            </p:cNvPr>
            <p:cNvGrpSpPr>
              <a:grpSpLocks noChangeAspect="1"/>
            </p:cNvGrpSpPr>
            <p:nvPr/>
          </p:nvGrpSpPr>
          <p:grpSpPr>
            <a:xfrm>
              <a:off x="8157392" y="3927607"/>
              <a:ext cx="371361" cy="371361"/>
              <a:chOff x="982662" y="1847850"/>
              <a:chExt cx="269875" cy="269875"/>
            </a:xfrm>
          </p:grpSpPr>
          <p:sp>
            <p:nvSpPr>
              <p:cNvPr id="16" name="Oval 15">
                <a:extLst>
                  <a:ext uri="{FF2B5EF4-FFF2-40B4-BE49-F238E27FC236}">
                    <a16:creationId xmlns:a16="http://schemas.microsoft.com/office/drawing/2014/main" id="{26A9D6FE-20E3-41BF-8942-5CF14954BBF9}"/>
                  </a:ext>
                </a:extLst>
              </p:cNvPr>
              <p:cNvSpPr>
                <a:spLocks noChangeArrowheads="1"/>
              </p:cNvSpPr>
              <p:nvPr/>
            </p:nvSpPr>
            <p:spPr bwMode="auto">
              <a:xfrm>
                <a:off x="982662" y="1847850"/>
                <a:ext cx="269875" cy="269875"/>
              </a:xfrm>
              <a:prstGeom prst="ellipse">
                <a:avLst/>
              </a:prstGeom>
              <a:solidFill>
                <a:srgbClr val="00802F"/>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Titillium Web"/>
                </a:endParaRPr>
              </a:p>
            </p:txBody>
          </p:sp>
          <p:sp>
            <p:nvSpPr>
              <p:cNvPr id="17" name="Freeform 51">
                <a:extLst>
                  <a:ext uri="{FF2B5EF4-FFF2-40B4-BE49-F238E27FC236}">
                    <a16:creationId xmlns:a16="http://schemas.microsoft.com/office/drawing/2014/main" id="{5C2AB42E-4F53-46D7-AD7F-E4B11B3BB303}"/>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Titillium Web"/>
                </a:endParaRPr>
              </a:p>
            </p:txBody>
          </p:sp>
        </p:grpSp>
        <p:sp>
          <p:nvSpPr>
            <p:cNvPr id="20" name="Rectangle 19">
              <a:extLst>
                <a:ext uri="{FF2B5EF4-FFF2-40B4-BE49-F238E27FC236}">
                  <a16:creationId xmlns:a16="http://schemas.microsoft.com/office/drawing/2014/main" id="{F5138F44-3725-4B61-BC4A-C2B8C99EC003}"/>
                </a:ext>
              </a:extLst>
            </p:cNvPr>
            <p:cNvSpPr/>
            <p:nvPr/>
          </p:nvSpPr>
          <p:spPr>
            <a:xfrm>
              <a:off x="696913" y="1664864"/>
              <a:ext cx="2543087" cy="540000"/>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800" b="1">
                  <a:solidFill>
                    <a:srgbClr val="00802F"/>
                  </a:solidFill>
                  <a:latin typeface="Titillium Web"/>
                </a:rPr>
                <a:t>High-level results</a:t>
              </a:r>
              <a:endParaRPr lang="en-US" sz="1800" b="1">
                <a:solidFill>
                  <a:srgbClr val="00802F"/>
                </a:solidFill>
                <a:latin typeface="Titillium Web"/>
              </a:endParaRPr>
            </a:p>
          </p:txBody>
        </p:sp>
        <p:cxnSp>
          <p:nvCxnSpPr>
            <p:cNvPr id="21" name="Straight Connector 20">
              <a:extLst>
                <a:ext uri="{FF2B5EF4-FFF2-40B4-BE49-F238E27FC236}">
                  <a16:creationId xmlns:a16="http://schemas.microsoft.com/office/drawing/2014/main" id="{CAD50A44-DD10-48C4-A37E-B69B2AF92292}"/>
                </a:ext>
              </a:extLst>
            </p:cNvPr>
            <p:cNvCxnSpPr>
              <a:cxnSpLocks/>
            </p:cNvCxnSpPr>
            <p:nvPr/>
          </p:nvCxnSpPr>
          <p:spPr>
            <a:xfrm>
              <a:off x="696913" y="2276811"/>
              <a:ext cx="2543087"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56614846-58A9-4447-9BA9-673B63780C86}"/>
                </a:ext>
              </a:extLst>
            </p:cNvPr>
            <p:cNvGrpSpPr/>
            <p:nvPr/>
          </p:nvGrpSpPr>
          <p:grpSpPr>
            <a:xfrm>
              <a:off x="3352801" y="1664864"/>
              <a:ext cx="4646546" cy="611947"/>
              <a:chOff x="3931679" y="1664864"/>
              <a:chExt cx="4067667" cy="611947"/>
            </a:xfrm>
          </p:grpSpPr>
          <p:sp>
            <p:nvSpPr>
              <p:cNvPr id="23" name="Rectangle 22">
                <a:extLst>
                  <a:ext uri="{FF2B5EF4-FFF2-40B4-BE49-F238E27FC236}">
                    <a16:creationId xmlns:a16="http://schemas.microsoft.com/office/drawing/2014/main" id="{A354D285-7D27-4398-96CE-293DFEE77127}"/>
                  </a:ext>
                </a:extLst>
              </p:cNvPr>
              <p:cNvSpPr/>
              <p:nvPr/>
            </p:nvSpPr>
            <p:spPr>
              <a:xfrm>
                <a:off x="3931679" y="1664864"/>
                <a:ext cx="4067667" cy="540000"/>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800" b="1">
                    <a:solidFill>
                      <a:srgbClr val="00802F"/>
                    </a:solidFill>
                    <a:latin typeface="Titillium Web"/>
                  </a:rPr>
                  <a:t>Accuracy &amp; Loss curve</a:t>
                </a:r>
                <a:endParaRPr lang="en-US" sz="1800" b="1">
                  <a:solidFill>
                    <a:srgbClr val="00802F"/>
                  </a:solidFill>
                  <a:latin typeface="Titillium Web"/>
                </a:endParaRPr>
              </a:p>
            </p:txBody>
          </p:sp>
          <p:cxnSp>
            <p:nvCxnSpPr>
              <p:cNvPr id="24" name="Straight Connector 23">
                <a:extLst>
                  <a:ext uri="{FF2B5EF4-FFF2-40B4-BE49-F238E27FC236}">
                    <a16:creationId xmlns:a16="http://schemas.microsoft.com/office/drawing/2014/main" id="{9856AD43-4257-46D5-A4E5-990401ED2F65}"/>
                  </a:ext>
                </a:extLst>
              </p:cNvPr>
              <p:cNvCxnSpPr>
                <a:cxnSpLocks/>
              </p:cNvCxnSpPr>
              <p:nvPr/>
            </p:nvCxnSpPr>
            <p:spPr>
              <a:xfrm>
                <a:off x="3931679" y="2276811"/>
                <a:ext cx="4067667"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56" name="Group 55">
            <a:extLst>
              <a:ext uri="{FF2B5EF4-FFF2-40B4-BE49-F238E27FC236}">
                <a16:creationId xmlns:a16="http://schemas.microsoft.com/office/drawing/2014/main" id="{FA46592D-0FC6-47B2-B828-659F7840FB20}"/>
              </a:ext>
            </a:extLst>
          </p:cNvPr>
          <p:cNvGrpSpPr/>
          <p:nvPr/>
        </p:nvGrpSpPr>
        <p:grpSpPr>
          <a:xfrm>
            <a:off x="3492397" y="2505075"/>
            <a:ext cx="8004277" cy="4016031"/>
            <a:chOff x="3492397" y="2505075"/>
            <a:chExt cx="8004277" cy="4016031"/>
          </a:xfrm>
        </p:grpSpPr>
        <p:sp>
          <p:nvSpPr>
            <p:cNvPr id="53" name="Rectangle 52">
              <a:extLst>
                <a:ext uri="{FF2B5EF4-FFF2-40B4-BE49-F238E27FC236}">
                  <a16:creationId xmlns:a16="http://schemas.microsoft.com/office/drawing/2014/main" id="{D72D459E-AD2F-4F01-A823-CCB69ACE9FDC}"/>
                </a:ext>
              </a:extLst>
            </p:cNvPr>
            <p:cNvSpPr/>
            <p:nvPr/>
          </p:nvSpPr>
          <p:spPr>
            <a:xfrm>
              <a:off x="8686800" y="3789038"/>
              <a:ext cx="2809874" cy="738664"/>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r>
                <a:rPr lang="de-CH" sz="1600">
                  <a:solidFill>
                    <a:schemeClr val="tx1"/>
                  </a:solidFill>
                  <a:latin typeface="Titillium Web"/>
                </a:rPr>
                <a:t>Varying accuracy / loss of the domain classifier across epochs – little convergence</a:t>
              </a:r>
            </a:p>
          </p:txBody>
        </p:sp>
        <p:grpSp>
          <p:nvGrpSpPr>
            <p:cNvPr id="55" name="Group 54">
              <a:extLst>
                <a:ext uri="{FF2B5EF4-FFF2-40B4-BE49-F238E27FC236}">
                  <a16:creationId xmlns:a16="http://schemas.microsoft.com/office/drawing/2014/main" id="{3AE62B48-C1DD-4925-97A7-3A37E441872D}"/>
                </a:ext>
              </a:extLst>
            </p:cNvPr>
            <p:cNvGrpSpPr/>
            <p:nvPr/>
          </p:nvGrpSpPr>
          <p:grpSpPr>
            <a:xfrm>
              <a:off x="3492397" y="2505075"/>
              <a:ext cx="4496941" cy="4016031"/>
              <a:chOff x="3492397" y="2505075"/>
              <a:chExt cx="4496941" cy="4016031"/>
            </a:xfrm>
          </p:grpSpPr>
          <p:pic>
            <p:nvPicPr>
              <p:cNvPr id="9" name="Picture 8">
                <a:extLst>
                  <a:ext uri="{FF2B5EF4-FFF2-40B4-BE49-F238E27FC236}">
                    <a16:creationId xmlns:a16="http://schemas.microsoft.com/office/drawing/2014/main" id="{EAF0F3B6-A9B3-46B1-93A4-82008620D0AB}"/>
                  </a:ext>
                </a:extLst>
              </p:cNvPr>
              <p:cNvPicPr>
                <a:picLocks noChangeAspect="1"/>
              </p:cNvPicPr>
              <p:nvPr/>
            </p:nvPicPr>
            <p:blipFill rotWithShape="1">
              <a:blip r:embed="rId7"/>
              <a:srcRect l="2659" t="3067" r="14521" b="2399"/>
              <a:stretch/>
            </p:blipFill>
            <p:spPr>
              <a:xfrm>
                <a:off x="3898141" y="2505075"/>
                <a:ext cx="3783772" cy="3676649"/>
              </a:xfrm>
              <a:prstGeom prst="rect">
                <a:avLst/>
              </a:prstGeom>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pic>
          <p:sp>
            <p:nvSpPr>
              <p:cNvPr id="19" name="Rectangle 18">
                <a:extLst>
                  <a:ext uri="{FF2B5EF4-FFF2-40B4-BE49-F238E27FC236}">
                    <a16:creationId xmlns:a16="http://schemas.microsoft.com/office/drawing/2014/main" id="{53D2A7AA-798E-42CF-BB8A-C13962A8A9D0}"/>
                  </a:ext>
                </a:extLst>
              </p:cNvPr>
              <p:cNvSpPr/>
              <p:nvPr/>
            </p:nvSpPr>
            <p:spPr>
              <a:xfrm rot="16200000">
                <a:off x="2983313" y="4212965"/>
                <a:ext cx="1296879" cy="278712"/>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Titillium Web"/>
                  </a:rPr>
                  <a:t>Accuracy</a:t>
                </a:r>
              </a:p>
            </p:txBody>
          </p:sp>
          <p:sp>
            <p:nvSpPr>
              <p:cNvPr id="39" name="Rectangle 38">
                <a:extLst>
                  <a:ext uri="{FF2B5EF4-FFF2-40B4-BE49-F238E27FC236}">
                    <a16:creationId xmlns:a16="http://schemas.microsoft.com/office/drawing/2014/main" id="{C4EC435B-2D5D-4BC1-90D8-5264016C3E6E}"/>
                  </a:ext>
                </a:extLst>
              </p:cNvPr>
              <p:cNvSpPr/>
              <p:nvPr/>
            </p:nvSpPr>
            <p:spPr>
              <a:xfrm rot="5400000">
                <a:off x="7201542" y="4212966"/>
                <a:ext cx="1296879" cy="278712"/>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Titillium Web"/>
                  </a:rPr>
                  <a:t>Loss</a:t>
                </a:r>
              </a:p>
            </p:txBody>
          </p:sp>
          <p:sp>
            <p:nvSpPr>
              <p:cNvPr id="40" name="Rectangle 39">
                <a:extLst>
                  <a:ext uri="{FF2B5EF4-FFF2-40B4-BE49-F238E27FC236}">
                    <a16:creationId xmlns:a16="http://schemas.microsoft.com/office/drawing/2014/main" id="{A88D8F42-E24A-4B04-8BAC-4A16FF2C00C6}"/>
                  </a:ext>
                </a:extLst>
              </p:cNvPr>
              <p:cNvSpPr/>
              <p:nvPr/>
            </p:nvSpPr>
            <p:spPr>
              <a:xfrm>
                <a:off x="4811997" y="6242394"/>
                <a:ext cx="1898761" cy="278712"/>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latin typeface="Titillium Web"/>
                  </a:rPr>
                  <a:t>Number of Epochs</a:t>
                </a:r>
              </a:p>
            </p:txBody>
          </p:sp>
          <p:sp>
            <p:nvSpPr>
              <p:cNvPr id="42" name="Rectangle 41">
                <a:extLst>
                  <a:ext uri="{FF2B5EF4-FFF2-40B4-BE49-F238E27FC236}">
                    <a16:creationId xmlns:a16="http://schemas.microsoft.com/office/drawing/2014/main" id="{7D9029A9-A3F9-4F43-9FB0-56D95A0C2DC8}"/>
                  </a:ext>
                </a:extLst>
              </p:cNvPr>
              <p:cNvSpPr/>
              <p:nvPr/>
            </p:nvSpPr>
            <p:spPr>
              <a:xfrm>
                <a:off x="5908950" y="3575039"/>
                <a:ext cx="1569224" cy="278712"/>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a:solidFill>
                      <a:srgbClr val="FA887B"/>
                    </a:solidFill>
                    <a:latin typeface="Titillium Web"/>
                  </a:rPr>
                  <a:t>Source</a:t>
                </a:r>
                <a:r>
                  <a:rPr lang="en-US" sz="1100" i="1">
                    <a:solidFill>
                      <a:schemeClr val="tx1"/>
                    </a:solidFill>
                    <a:latin typeface="Titillium Web"/>
                  </a:rPr>
                  <a:t> &amp; </a:t>
                </a:r>
                <a:r>
                  <a:rPr lang="en-US" sz="1100" i="1">
                    <a:solidFill>
                      <a:srgbClr val="97F097"/>
                    </a:solidFill>
                    <a:latin typeface="Titillium Web"/>
                  </a:rPr>
                  <a:t>Target</a:t>
                </a:r>
                <a:r>
                  <a:rPr lang="en-US" sz="1100" i="1">
                    <a:solidFill>
                      <a:schemeClr val="tx1"/>
                    </a:solidFill>
                    <a:latin typeface="Titillium Web"/>
                  </a:rPr>
                  <a:t> Loss</a:t>
                </a:r>
              </a:p>
            </p:txBody>
          </p:sp>
          <p:sp>
            <p:nvSpPr>
              <p:cNvPr id="43" name="Rectangle 42">
                <a:extLst>
                  <a:ext uri="{FF2B5EF4-FFF2-40B4-BE49-F238E27FC236}">
                    <a16:creationId xmlns:a16="http://schemas.microsoft.com/office/drawing/2014/main" id="{0CBA431A-16EE-4CC7-8459-89AE198A1973}"/>
                  </a:ext>
                </a:extLst>
              </p:cNvPr>
              <p:cNvSpPr/>
              <p:nvPr/>
            </p:nvSpPr>
            <p:spPr>
              <a:xfrm>
                <a:off x="5908950" y="4437112"/>
                <a:ext cx="1569224" cy="278712"/>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a:solidFill>
                      <a:srgbClr val="921414"/>
                    </a:solidFill>
                    <a:latin typeface="Titillium Web"/>
                  </a:rPr>
                  <a:t>Source</a:t>
                </a:r>
                <a:r>
                  <a:rPr lang="en-US" sz="1100" i="1">
                    <a:solidFill>
                      <a:schemeClr val="tx1"/>
                    </a:solidFill>
                    <a:latin typeface="Titillium Web"/>
                  </a:rPr>
                  <a:t> &amp; </a:t>
                </a:r>
                <a:r>
                  <a:rPr lang="en-US" sz="1100" i="1">
                    <a:solidFill>
                      <a:srgbClr val="1F670C"/>
                    </a:solidFill>
                    <a:latin typeface="Titillium Web"/>
                  </a:rPr>
                  <a:t>Target </a:t>
                </a:r>
                <a:r>
                  <a:rPr lang="en-US" sz="1100" i="1">
                    <a:solidFill>
                      <a:schemeClr val="tx1"/>
                    </a:solidFill>
                    <a:latin typeface="Titillium Web"/>
                  </a:rPr>
                  <a:t>Acc</a:t>
                </a:r>
              </a:p>
            </p:txBody>
          </p:sp>
          <p:sp>
            <p:nvSpPr>
              <p:cNvPr id="44" name="Rectangle 43">
                <a:extLst>
                  <a:ext uri="{FF2B5EF4-FFF2-40B4-BE49-F238E27FC236}">
                    <a16:creationId xmlns:a16="http://schemas.microsoft.com/office/drawing/2014/main" id="{A0F4BC8E-6560-443E-8C48-3A67D0A933E2}"/>
                  </a:ext>
                </a:extLst>
              </p:cNvPr>
              <p:cNvSpPr/>
              <p:nvPr/>
            </p:nvSpPr>
            <p:spPr>
              <a:xfrm>
                <a:off x="5830489" y="3004249"/>
                <a:ext cx="1726146" cy="278712"/>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a:solidFill>
                      <a:srgbClr val="212393"/>
                    </a:solidFill>
                    <a:latin typeface="Titillium Web"/>
                  </a:rPr>
                  <a:t>Class</a:t>
                </a:r>
                <a:r>
                  <a:rPr lang="en-US" sz="1100" i="1">
                    <a:solidFill>
                      <a:schemeClr val="tx1"/>
                    </a:solidFill>
                    <a:latin typeface="Titillium Web"/>
                  </a:rPr>
                  <a:t> &amp; </a:t>
                </a:r>
                <a:r>
                  <a:rPr lang="en-US" sz="1100" i="1">
                    <a:solidFill>
                      <a:srgbClr val="780078"/>
                    </a:solidFill>
                    <a:latin typeface="Titillium Web"/>
                  </a:rPr>
                  <a:t>Eval</a:t>
                </a:r>
                <a:r>
                  <a:rPr lang="en-US" sz="1100" i="1">
                    <a:solidFill>
                      <a:srgbClr val="97F097"/>
                    </a:solidFill>
                    <a:latin typeface="Titillium Web"/>
                  </a:rPr>
                  <a:t> </a:t>
                </a:r>
                <a:r>
                  <a:rPr lang="en-US" sz="1100" i="1">
                    <a:solidFill>
                      <a:schemeClr val="tx1"/>
                    </a:solidFill>
                    <a:latin typeface="Titillium Web"/>
                  </a:rPr>
                  <a:t>Accuracy</a:t>
                </a:r>
              </a:p>
            </p:txBody>
          </p:sp>
          <p:sp>
            <p:nvSpPr>
              <p:cNvPr id="45" name="Rectangle 44">
                <a:extLst>
                  <a:ext uri="{FF2B5EF4-FFF2-40B4-BE49-F238E27FC236}">
                    <a16:creationId xmlns:a16="http://schemas.microsoft.com/office/drawing/2014/main" id="{D96880A5-AC57-4ED3-8059-A8A3AE05F60C}"/>
                  </a:ext>
                </a:extLst>
              </p:cNvPr>
              <p:cNvSpPr/>
              <p:nvPr/>
            </p:nvSpPr>
            <p:spPr>
              <a:xfrm>
                <a:off x="5830489" y="5749026"/>
                <a:ext cx="1726146" cy="278712"/>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a:solidFill>
                      <a:srgbClr val="7BBFD7"/>
                    </a:solidFill>
                    <a:latin typeface="Titillium Web"/>
                  </a:rPr>
                  <a:t>Class </a:t>
                </a:r>
                <a:r>
                  <a:rPr lang="en-US" sz="1100" i="1">
                    <a:solidFill>
                      <a:schemeClr val="tx1"/>
                    </a:solidFill>
                    <a:latin typeface="Titillium Web"/>
                  </a:rPr>
                  <a:t>&amp; </a:t>
                </a:r>
                <a:r>
                  <a:rPr lang="en-US" sz="1100" i="1">
                    <a:solidFill>
                      <a:srgbClr val="9393E9"/>
                    </a:solidFill>
                    <a:latin typeface="Titillium Web"/>
                  </a:rPr>
                  <a:t>Eval </a:t>
                </a:r>
                <a:r>
                  <a:rPr lang="en-US" sz="1100" i="1">
                    <a:solidFill>
                      <a:schemeClr val="tx1"/>
                    </a:solidFill>
                    <a:latin typeface="Titillium Web"/>
                  </a:rPr>
                  <a:t>Loss</a:t>
                </a:r>
              </a:p>
            </p:txBody>
          </p:sp>
        </p:grpSp>
      </p:grpSp>
      <p:sp>
        <p:nvSpPr>
          <p:cNvPr id="51" name="Rectangle 50">
            <a:extLst>
              <a:ext uri="{FF2B5EF4-FFF2-40B4-BE49-F238E27FC236}">
                <a16:creationId xmlns:a16="http://schemas.microsoft.com/office/drawing/2014/main" id="{1A231C95-D1C1-4552-AA6F-DC86C7666DA9}"/>
              </a:ext>
            </a:extLst>
          </p:cNvPr>
          <p:cNvSpPr/>
          <p:nvPr/>
        </p:nvSpPr>
        <p:spPr>
          <a:xfrm>
            <a:off x="-2859985" y="0"/>
            <a:ext cx="2664296" cy="720080"/>
          </a:xfrm>
          <a:prstGeom prst="rect">
            <a:avLst/>
          </a:prstGeom>
          <a:solidFill>
            <a:srgbClr val="FFFED9"/>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Presenter: Kaan</a:t>
            </a:r>
            <a:endParaRPr lang="en-US">
              <a:solidFill>
                <a:schemeClr val="tx1"/>
              </a:solidFill>
            </a:endParaRPr>
          </a:p>
        </p:txBody>
      </p:sp>
    </p:spTree>
    <p:extLst>
      <p:ext uri="{BB962C8B-B14F-4D97-AF65-F5344CB8AC3E}">
        <p14:creationId xmlns:p14="http://schemas.microsoft.com/office/powerpoint/2010/main" val="785689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AB758C9-F349-4BFD-8719-37AC5DAA009D}"/>
              </a:ext>
            </a:extLst>
          </p:cNvPr>
          <p:cNvGraphicFramePr>
            <a:graphicFrameLocks noChangeAspect="1"/>
          </p:cNvGraphicFramePr>
          <p:nvPr>
            <p:custDataLst>
              <p:tags r:id="rId2"/>
            </p:custDataLst>
            <p:extLst>
              <p:ext uri="{D42A27DB-BD31-4B8C-83A1-F6EECF244321}">
                <p14:modId xmlns:p14="http://schemas.microsoft.com/office/powerpoint/2010/main" val="3722251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5" imgW="592" imgH="591" progId="TCLayout.ActiveDocument.1">
                  <p:embed/>
                </p:oleObj>
              </mc:Choice>
              <mc:Fallback>
                <p:oleObj name="think-cell Slide" r:id="rId5" imgW="592" imgH="591" progId="TCLayout.ActiveDocument.1">
                  <p:embed/>
                  <p:pic>
                    <p:nvPicPr>
                      <p:cNvPr id="6" name="think-cell data - do not delete" hidden="1">
                        <a:extLst>
                          <a:ext uri="{FF2B5EF4-FFF2-40B4-BE49-F238E27FC236}">
                            <a16:creationId xmlns:a16="http://schemas.microsoft.com/office/drawing/2014/main" id="{2AB758C9-F349-4BFD-8719-37AC5DAA00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Oval 26">
            <a:extLst>
              <a:ext uri="{FF2B5EF4-FFF2-40B4-BE49-F238E27FC236}">
                <a16:creationId xmlns:a16="http://schemas.microsoft.com/office/drawing/2014/main" id="{6AD0BD74-75C7-4A5A-BE07-05085165DCE6}"/>
              </a:ext>
            </a:extLst>
          </p:cNvPr>
          <p:cNvSpPr/>
          <p:nvPr/>
        </p:nvSpPr>
        <p:spPr>
          <a:xfrm>
            <a:off x="3208685" y="1917129"/>
            <a:ext cx="1636545" cy="1636545"/>
          </a:xfrm>
          <a:prstGeom prst="ellipse">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5B36930A-2A3D-4974-BDCC-7CC29D73E321}"/>
              </a:ext>
            </a:extLst>
          </p:cNvPr>
          <p:cNvSpPr/>
          <p:nvPr/>
        </p:nvSpPr>
        <p:spPr>
          <a:xfrm>
            <a:off x="5430924" y="1917129"/>
            <a:ext cx="1636545" cy="1636545"/>
          </a:xfrm>
          <a:prstGeom prst="ellipse">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52B50E75-E4C2-4A4A-A26B-FE8C54232B80}"/>
              </a:ext>
            </a:extLst>
          </p:cNvPr>
          <p:cNvSpPr/>
          <p:nvPr/>
        </p:nvSpPr>
        <p:spPr>
          <a:xfrm>
            <a:off x="7653162" y="1917129"/>
            <a:ext cx="1636545" cy="1636545"/>
          </a:xfrm>
          <a:prstGeom prst="ellipse">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847CAEA7-42AA-4ED0-B605-B7D31A7C901F}"/>
              </a:ext>
            </a:extLst>
          </p:cNvPr>
          <p:cNvSpPr/>
          <p:nvPr/>
        </p:nvSpPr>
        <p:spPr>
          <a:xfrm>
            <a:off x="9875400" y="1917129"/>
            <a:ext cx="1636545" cy="1636545"/>
          </a:xfrm>
          <a:prstGeom prst="ellipse">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15578C2-69FE-45D8-BFDA-564ECE604515}"/>
              </a:ext>
            </a:extLst>
          </p:cNvPr>
          <p:cNvSpPr>
            <a:spLocks noGrp="1"/>
          </p:cNvSpPr>
          <p:nvPr>
            <p:ph type="title"/>
          </p:nvPr>
        </p:nvSpPr>
        <p:spPr/>
        <p:txBody>
          <a:bodyPr vert="horz"/>
          <a:lstStyle/>
          <a:p>
            <a:r>
              <a:rPr lang="de-CH"/>
              <a:t>Learnings from the Challenge</a:t>
            </a:r>
            <a:endParaRPr lang="en-US"/>
          </a:p>
        </p:txBody>
      </p:sp>
      <p:sp>
        <p:nvSpPr>
          <p:cNvPr id="4" name="Slide Number Placeholder 3">
            <a:extLst>
              <a:ext uri="{FF2B5EF4-FFF2-40B4-BE49-F238E27FC236}">
                <a16:creationId xmlns:a16="http://schemas.microsoft.com/office/drawing/2014/main" id="{BBDA29AB-838E-43DB-BD0C-02DAD3B5E38D}"/>
              </a:ext>
            </a:extLst>
          </p:cNvPr>
          <p:cNvSpPr>
            <a:spLocks noGrp="1"/>
          </p:cNvSpPr>
          <p:nvPr>
            <p:ph type="sldNum" sz="quarter" idx="4"/>
          </p:nvPr>
        </p:nvSpPr>
        <p:spPr/>
        <p:txBody>
          <a:bodyPr/>
          <a:lstStyle/>
          <a:p>
            <a:fld id="{1FF5481D-800C-4F34-B3D6-C18BC0A4FD2D}" type="slidenum">
              <a:rPr lang="de-CH" smtClean="0"/>
              <a:pPr/>
              <a:t>8</a:t>
            </a:fld>
            <a:endParaRPr lang="de-CH"/>
          </a:p>
        </p:txBody>
      </p:sp>
      <p:sp>
        <p:nvSpPr>
          <p:cNvPr id="5" name="Footer Placeholder 4">
            <a:extLst>
              <a:ext uri="{FF2B5EF4-FFF2-40B4-BE49-F238E27FC236}">
                <a16:creationId xmlns:a16="http://schemas.microsoft.com/office/drawing/2014/main" id="{E12A9ADB-C796-4FA3-9F00-29440A8FA820}"/>
              </a:ext>
            </a:extLst>
          </p:cNvPr>
          <p:cNvSpPr>
            <a:spLocks noGrp="1"/>
          </p:cNvSpPr>
          <p:nvPr>
            <p:ph type="ftr" sz="quarter" idx="3"/>
          </p:nvPr>
        </p:nvSpPr>
        <p:spPr/>
        <p:txBody>
          <a:bodyPr/>
          <a:lstStyle/>
          <a:p>
            <a:r>
              <a:rPr lang="en-US" noProof="0"/>
              <a:t>Prof. Damian Borth - Artificial Intelligence &amp; Machine Learning [AIML]</a:t>
            </a:r>
          </a:p>
        </p:txBody>
      </p:sp>
      <p:sp>
        <p:nvSpPr>
          <p:cNvPr id="26" name="Oval 25">
            <a:extLst>
              <a:ext uri="{FF2B5EF4-FFF2-40B4-BE49-F238E27FC236}">
                <a16:creationId xmlns:a16="http://schemas.microsoft.com/office/drawing/2014/main" id="{C6E2AEA9-0F2F-4DD8-9E6B-AF05382077ED}"/>
              </a:ext>
            </a:extLst>
          </p:cNvPr>
          <p:cNvSpPr/>
          <p:nvPr/>
        </p:nvSpPr>
        <p:spPr>
          <a:xfrm>
            <a:off x="986447" y="1917129"/>
            <a:ext cx="1636545" cy="1636545"/>
          </a:xfrm>
          <a:prstGeom prst="ellipse">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FCBE9D71-A20D-440E-81BE-2E6D19656D7D}"/>
              </a:ext>
            </a:extLst>
          </p:cNvPr>
          <p:cNvSpPr/>
          <p:nvPr/>
        </p:nvSpPr>
        <p:spPr>
          <a:xfrm>
            <a:off x="834047" y="1764729"/>
            <a:ext cx="1636545" cy="1636545"/>
          </a:xfrm>
          <a:prstGeom prst="ellipse">
            <a:avLst/>
          </a:prstGeom>
          <a:solidFill>
            <a:srgbClr val="00802F"/>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DFC77A0B-26AE-4069-B9F6-C61EC4BE03A6}"/>
              </a:ext>
            </a:extLst>
          </p:cNvPr>
          <p:cNvSpPr/>
          <p:nvPr/>
        </p:nvSpPr>
        <p:spPr>
          <a:xfrm>
            <a:off x="3056285" y="1764729"/>
            <a:ext cx="1636545" cy="1636545"/>
          </a:xfrm>
          <a:prstGeom prst="ellipse">
            <a:avLst/>
          </a:prstGeom>
          <a:solidFill>
            <a:srgbClr val="00802F"/>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3C82B961-BD4C-41B5-81DC-15F938002DB5}"/>
              </a:ext>
            </a:extLst>
          </p:cNvPr>
          <p:cNvSpPr/>
          <p:nvPr/>
        </p:nvSpPr>
        <p:spPr>
          <a:xfrm>
            <a:off x="5278524" y="1764729"/>
            <a:ext cx="1636545" cy="1636545"/>
          </a:xfrm>
          <a:prstGeom prst="ellipse">
            <a:avLst/>
          </a:prstGeom>
          <a:solidFill>
            <a:srgbClr val="00802F"/>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5F002586-1CEA-496D-A244-DD7DF1532C10}"/>
              </a:ext>
            </a:extLst>
          </p:cNvPr>
          <p:cNvSpPr/>
          <p:nvPr/>
        </p:nvSpPr>
        <p:spPr>
          <a:xfrm>
            <a:off x="7500762" y="1764729"/>
            <a:ext cx="1636545" cy="1636545"/>
          </a:xfrm>
          <a:prstGeom prst="ellipse">
            <a:avLst/>
          </a:prstGeom>
          <a:solidFill>
            <a:srgbClr val="00802F"/>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89951721-4FCD-40FA-AA27-387B8B3D21D1}"/>
              </a:ext>
            </a:extLst>
          </p:cNvPr>
          <p:cNvSpPr/>
          <p:nvPr/>
        </p:nvSpPr>
        <p:spPr>
          <a:xfrm>
            <a:off x="9723000" y="1764729"/>
            <a:ext cx="1636545" cy="1636545"/>
          </a:xfrm>
          <a:prstGeom prst="ellipse">
            <a:avLst/>
          </a:prstGeom>
          <a:solidFill>
            <a:srgbClr val="00802F"/>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1182B9A-C9A6-4847-BF82-DF3FCAC94F3D}"/>
              </a:ext>
            </a:extLst>
          </p:cNvPr>
          <p:cNvSpPr/>
          <p:nvPr/>
        </p:nvSpPr>
        <p:spPr>
          <a:xfrm>
            <a:off x="724379" y="3960158"/>
            <a:ext cx="2008281" cy="516898"/>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CH" sz="2000" b="1">
                <a:solidFill>
                  <a:srgbClr val="00802F"/>
                </a:solidFill>
                <a:latin typeface="Titillium Web"/>
              </a:rPr>
              <a:t>Overfitting as </a:t>
            </a:r>
            <a:br>
              <a:rPr lang="de-CH" sz="2000" b="1">
                <a:solidFill>
                  <a:srgbClr val="00802F"/>
                </a:solidFill>
                <a:latin typeface="Titillium Web"/>
              </a:rPr>
            </a:br>
            <a:r>
              <a:rPr lang="de-CH" sz="2000" b="1">
                <a:solidFill>
                  <a:srgbClr val="00802F"/>
                </a:solidFill>
                <a:latin typeface="Titillium Web"/>
              </a:rPr>
              <a:t>key issue</a:t>
            </a:r>
          </a:p>
        </p:txBody>
      </p:sp>
      <p:sp>
        <p:nvSpPr>
          <p:cNvPr id="17" name="Rectangle 16">
            <a:extLst>
              <a:ext uri="{FF2B5EF4-FFF2-40B4-BE49-F238E27FC236}">
                <a16:creationId xmlns:a16="http://schemas.microsoft.com/office/drawing/2014/main" id="{1218BA04-9832-423F-B517-24F36B710E7D}"/>
              </a:ext>
            </a:extLst>
          </p:cNvPr>
          <p:cNvSpPr/>
          <p:nvPr/>
        </p:nvSpPr>
        <p:spPr>
          <a:xfrm>
            <a:off x="2919152" y="3960158"/>
            <a:ext cx="1910811" cy="516898"/>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CH" sz="2000" b="1">
                <a:solidFill>
                  <a:srgbClr val="00802F"/>
                </a:solidFill>
                <a:latin typeface="Titillium Web"/>
              </a:rPr>
              <a:t>Target vs. Source domain</a:t>
            </a:r>
            <a:endParaRPr lang="en-US" sz="2000" b="1">
              <a:solidFill>
                <a:srgbClr val="00802F"/>
              </a:solidFill>
              <a:latin typeface="Titillium Web"/>
            </a:endParaRPr>
          </a:p>
        </p:txBody>
      </p:sp>
      <p:sp>
        <p:nvSpPr>
          <p:cNvPr id="18" name="Rectangle 17">
            <a:extLst>
              <a:ext uri="{FF2B5EF4-FFF2-40B4-BE49-F238E27FC236}">
                <a16:creationId xmlns:a16="http://schemas.microsoft.com/office/drawing/2014/main" id="{92C3D86C-A091-499F-AA8F-9E9871CE572F}"/>
              </a:ext>
            </a:extLst>
          </p:cNvPr>
          <p:cNvSpPr/>
          <p:nvPr/>
        </p:nvSpPr>
        <p:spPr>
          <a:xfrm>
            <a:off x="5141391" y="3960158"/>
            <a:ext cx="1910811" cy="516898"/>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CH" sz="2000" b="1">
                <a:solidFill>
                  <a:srgbClr val="00802F"/>
                </a:solidFill>
                <a:latin typeface="Titillium Web"/>
              </a:rPr>
              <a:t>Exploration vs. Exploitation</a:t>
            </a:r>
            <a:endParaRPr lang="en-US" sz="2000" b="1">
              <a:solidFill>
                <a:srgbClr val="00802F"/>
              </a:solidFill>
              <a:latin typeface="Titillium Web"/>
            </a:endParaRPr>
          </a:p>
        </p:txBody>
      </p:sp>
      <p:sp>
        <p:nvSpPr>
          <p:cNvPr id="19" name="Rectangle 18">
            <a:extLst>
              <a:ext uri="{FF2B5EF4-FFF2-40B4-BE49-F238E27FC236}">
                <a16:creationId xmlns:a16="http://schemas.microsoft.com/office/drawing/2014/main" id="{D622A2B5-9F76-41B0-B83E-0452E18E0E41}"/>
              </a:ext>
            </a:extLst>
          </p:cNvPr>
          <p:cNvSpPr/>
          <p:nvPr/>
        </p:nvSpPr>
        <p:spPr>
          <a:xfrm>
            <a:off x="7363630" y="3960158"/>
            <a:ext cx="1910811" cy="516898"/>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CH" sz="2000" b="1">
                <a:solidFill>
                  <a:srgbClr val="00802F"/>
                </a:solidFill>
                <a:latin typeface="Titillium Web"/>
              </a:rPr>
              <a:t>Domain Adaptation </a:t>
            </a:r>
            <a:endParaRPr lang="en-US" sz="2000" b="1">
              <a:solidFill>
                <a:srgbClr val="00802F"/>
              </a:solidFill>
              <a:latin typeface="Titillium Web"/>
            </a:endParaRPr>
          </a:p>
        </p:txBody>
      </p:sp>
      <p:sp>
        <p:nvSpPr>
          <p:cNvPr id="20" name="Rectangle 19">
            <a:extLst>
              <a:ext uri="{FF2B5EF4-FFF2-40B4-BE49-F238E27FC236}">
                <a16:creationId xmlns:a16="http://schemas.microsoft.com/office/drawing/2014/main" id="{67D46BB6-D13E-4545-9DE6-8264E578AA8A}"/>
              </a:ext>
            </a:extLst>
          </p:cNvPr>
          <p:cNvSpPr/>
          <p:nvPr/>
        </p:nvSpPr>
        <p:spPr>
          <a:xfrm>
            <a:off x="9585867" y="3960158"/>
            <a:ext cx="1910811" cy="516898"/>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CH" sz="2000" b="1">
                <a:solidFill>
                  <a:srgbClr val="00802F"/>
                </a:solidFill>
                <a:latin typeface="Titillium Web"/>
              </a:rPr>
              <a:t>Development setup </a:t>
            </a:r>
            <a:endParaRPr lang="en-US" sz="2000" b="1">
              <a:solidFill>
                <a:srgbClr val="00802F"/>
              </a:solidFill>
              <a:latin typeface="Titillium Web"/>
            </a:endParaRPr>
          </a:p>
        </p:txBody>
      </p:sp>
      <p:sp>
        <p:nvSpPr>
          <p:cNvPr id="14" name="Rectangle 13">
            <a:extLst>
              <a:ext uri="{FF2B5EF4-FFF2-40B4-BE49-F238E27FC236}">
                <a16:creationId xmlns:a16="http://schemas.microsoft.com/office/drawing/2014/main" id="{2B9A8BF4-60BC-4CA3-8518-02CCDEC79C33}"/>
              </a:ext>
            </a:extLst>
          </p:cNvPr>
          <p:cNvSpPr/>
          <p:nvPr/>
        </p:nvSpPr>
        <p:spPr>
          <a:xfrm>
            <a:off x="769100" y="4725144"/>
            <a:ext cx="1918839" cy="1011471"/>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CH" sz="1300" i="1">
                <a:solidFill>
                  <a:schemeClr val="tx1"/>
                </a:solidFill>
                <a:latin typeface="Titillium Web"/>
              </a:rPr>
              <a:t>Overfitting is a key factor to be considered - even more so when dealing with different domains</a:t>
            </a:r>
            <a:endParaRPr lang="en-US" sz="1300" i="1">
              <a:solidFill>
                <a:schemeClr val="tx1"/>
              </a:solidFill>
              <a:latin typeface="Titillium Web"/>
            </a:endParaRPr>
          </a:p>
        </p:txBody>
      </p:sp>
      <p:sp>
        <p:nvSpPr>
          <p:cNvPr id="34" name="Rectangle 33">
            <a:extLst>
              <a:ext uri="{FF2B5EF4-FFF2-40B4-BE49-F238E27FC236}">
                <a16:creationId xmlns:a16="http://schemas.microsoft.com/office/drawing/2014/main" id="{C1A02B3D-4C04-4935-8549-AD1324808543}"/>
              </a:ext>
            </a:extLst>
          </p:cNvPr>
          <p:cNvSpPr/>
          <p:nvPr/>
        </p:nvSpPr>
        <p:spPr>
          <a:xfrm>
            <a:off x="2915138" y="4725144"/>
            <a:ext cx="1918839" cy="1011471"/>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CH" sz="1300" i="1">
                <a:solidFill>
                  <a:schemeClr val="tx1"/>
                </a:solidFill>
                <a:latin typeface="Titillium Web"/>
              </a:rPr>
              <a:t>Little changes in augmentation can have a big impact on performance in target domain (vs. source)</a:t>
            </a:r>
            <a:endParaRPr lang="en-US" sz="1300" i="1">
              <a:solidFill>
                <a:schemeClr val="tx1"/>
              </a:solidFill>
              <a:latin typeface="Titillium Web"/>
            </a:endParaRPr>
          </a:p>
        </p:txBody>
      </p:sp>
      <p:sp>
        <p:nvSpPr>
          <p:cNvPr id="35" name="Rectangle 34">
            <a:extLst>
              <a:ext uri="{FF2B5EF4-FFF2-40B4-BE49-F238E27FC236}">
                <a16:creationId xmlns:a16="http://schemas.microsoft.com/office/drawing/2014/main" id="{7A3CBDDB-7C34-4170-BB42-BF151D82A801}"/>
              </a:ext>
            </a:extLst>
          </p:cNvPr>
          <p:cNvSpPr/>
          <p:nvPr/>
        </p:nvSpPr>
        <p:spPr>
          <a:xfrm>
            <a:off x="5137377" y="4725144"/>
            <a:ext cx="1918839" cy="1011471"/>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300" i="1">
                <a:solidFill>
                  <a:schemeClr val="tx1"/>
                </a:solidFill>
                <a:latin typeface="Titillium Web"/>
              </a:rPr>
              <a:t>Good balance between trying new things out vs. pursuing existing approaches is important</a:t>
            </a:r>
          </a:p>
        </p:txBody>
      </p:sp>
      <p:sp>
        <p:nvSpPr>
          <p:cNvPr id="36" name="Rectangle 35">
            <a:extLst>
              <a:ext uri="{FF2B5EF4-FFF2-40B4-BE49-F238E27FC236}">
                <a16:creationId xmlns:a16="http://schemas.microsoft.com/office/drawing/2014/main" id="{556CC11C-F5BA-4FB4-96B0-419CAABA5BB3}"/>
              </a:ext>
            </a:extLst>
          </p:cNvPr>
          <p:cNvSpPr/>
          <p:nvPr/>
        </p:nvSpPr>
        <p:spPr>
          <a:xfrm>
            <a:off x="7359617" y="4725144"/>
            <a:ext cx="1918839" cy="1011471"/>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CH" sz="1300" i="1">
                <a:solidFill>
                  <a:schemeClr val="tx1"/>
                </a:solidFill>
                <a:latin typeface="Titillium Web"/>
              </a:rPr>
              <a:t>Domain Adaptation is difficult – has many considerations and factors to be tested</a:t>
            </a:r>
            <a:endParaRPr lang="en-US" sz="1300" i="1">
              <a:solidFill>
                <a:schemeClr val="tx1"/>
              </a:solidFill>
              <a:latin typeface="Titillium Web"/>
            </a:endParaRPr>
          </a:p>
        </p:txBody>
      </p:sp>
      <p:sp>
        <p:nvSpPr>
          <p:cNvPr id="37" name="Rectangle 36">
            <a:extLst>
              <a:ext uri="{FF2B5EF4-FFF2-40B4-BE49-F238E27FC236}">
                <a16:creationId xmlns:a16="http://schemas.microsoft.com/office/drawing/2014/main" id="{6ABC845D-0CB6-4893-95E6-F4CA1F1A463F}"/>
              </a:ext>
            </a:extLst>
          </p:cNvPr>
          <p:cNvSpPr/>
          <p:nvPr/>
        </p:nvSpPr>
        <p:spPr>
          <a:xfrm>
            <a:off x="9581854" y="4725144"/>
            <a:ext cx="1918839" cy="1011471"/>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CH" sz="1300" i="1">
                <a:solidFill>
                  <a:schemeClr val="tx1"/>
                </a:solidFill>
                <a:latin typeface="Titillium Web"/>
              </a:rPr>
              <a:t>A well-built development and model pipeline is key for speed, reproducibility and tracabiility</a:t>
            </a:r>
            <a:endParaRPr lang="en-US" sz="1300" i="1">
              <a:solidFill>
                <a:schemeClr val="tx1"/>
              </a:solidFill>
              <a:latin typeface="Titillium Web"/>
            </a:endParaRPr>
          </a:p>
        </p:txBody>
      </p:sp>
      <p:pic>
        <p:nvPicPr>
          <p:cNvPr id="22" name="Picture 21">
            <a:extLst>
              <a:ext uri="{FF2B5EF4-FFF2-40B4-BE49-F238E27FC236}">
                <a16:creationId xmlns:a16="http://schemas.microsoft.com/office/drawing/2014/main" id="{035503C4-0A90-466C-AB09-F53618C086AF}"/>
              </a:ext>
            </a:extLst>
          </p:cNvPr>
          <p:cNvPicPr>
            <a:picLocks noChangeAspect="1"/>
          </p:cNvPicPr>
          <p:nvPr/>
        </p:nvPicPr>
        <p:blipFill>
          <a:blip r:embed="rId7"/>
          <a:stretch>
            <a:fillRect/>
          </a:stretch>
        </p:blipFill>
        <p:spPr>
          <a:xfrm>
            <a:off x="1269968" y="2200649"/>
            <a:ext cx="764704" cy="764704"/>
          </a:xfrm>
          <a:prstGeom prst="rect">
            <a:avLst/>
          </a:prstGeom>
        </p:spPr>
      </p:pic>
      <p:pic>
        <p:nvPicPr>
          <p:cNvPr id="24" name="Picture 23">
            <a:extLst>
              <a:ext uri="{FF2B5EF4-FFF2-40B4-BE49-F238E27FC236}">
                <a16:creationId xmlns:a16="http://schemas.microsoft.com/office/drawing/2014/main" id="{3E2AA6DB-7E3F-46B7-8B6C-56EFC94A873C}"/>
              </a:ext>
            </a:extLst>
          </p:cNvPr>
          <p:cNvPicPr>
            <a:picLocks noChangeAspect="1"/>
          </p:cNvPicPr>
          <p:nvPr/>
        </p:nvPicPr>
        <p:blipFill>
          <a:blip r:embed="rId8"/>
          <a:stretch>
            <a:fillRect/>
          </a:stretch>
        </p:blipFill>
        <p:spPr>
          <a:xfrm>
            <a:off x="3411912" y="2120356"/>
            <a:ext cx="925291" cy="925291"/>
          </a:xfrm>
          <a:prstGeom prst="rect">
            <a:avLst/>
          </a:prstGeom>
        </p:spPr>
      </p:pic>
      <p:pic>
        <p:nvPicPr>
          <p:cNvPr id="39" name="Picture 38">
            <a:extLst>
              <a:ext uri="{FF2B5EF4-FFF2-40B4-BE49-F238E27FC236}">
                <a16:creationId xmlns:a16="http://schemas.microsoft.com/office/drawing/2014/main" id="{8004D3C2-BFFB-4739-ABE4-0995EC4E3FC6}"/>
              </a:ext>
            </a:extLst>
          </p:cNvPr>
          <p:cNvPicPr>
            <a:picLocks noChangeAspect="1"/>
          </p:cNvPicPr>
          <p:nvPr/>
        </p:nvPicPr>
        <p:blipFill>
          <a:blip r:embed="rId9"/>
          <a:stretch>
            <a:fillRect/>
          </a:stretch>
        </p:blipFill>
        <p:spPr>
          <a:xfrm>
            <a:off x="5678144" y="2164348"/>
            <a:ext cx="837306" cy="837306"/>
          </a:xfrm>
          <a:prstGeom prst="rect">
            <a:avLst/>
          </a:prstGeom>
        </p:spPr>
      </p:pic>
      <p:pic>
        <p:nvPicPr>
          <p:cNvPr id="41" name="Picture 40">
            <a:extLst>
              <a:ext uri="{FF2B5EF4-FFF2-40B4-BE49-F238E27FC236}">
                <a16:creationId xmlns:a16="http://schemas.microsoft.com/office/drawing/2014/main" id="{9411F13A-1328-4594-86AE-BB48C34075B2}"/>
              </a:ext>
            </a:extLst>
          </p:cNvPr>
          <p:cNvPicPr>
            <a:picLocks noChangeAspect="1"/>
          </p:cNvPicPr>
          <p:nvPr/>
        </p:nvPicPr>
        <p:blipFill>
          <a:blip r:embed="rId10"/>
          <a:stretch>
            <a:fillRect/>
          </a:stretch>
        </p:blipFill>
        <p:spPr>
          <a:xfrm>
            <a:off x="7923075" y="2187042"/>
            <a:ext cx="791919" cy="791919"/>
          </a:xfrm>
          <a:prstGeom prst="rect">
            <a:avLst/>
          </a:prstGeom>
        </p:spPr>
      </p:pic>
      <p:pic>
        <p:nvPicPr>
          <p:cNvPr id="43" name="Picture 42">
            <a:extLst>
              <a:ext uri="{FF2B5EF4-FFF2-40B4-BE49-F238E27FC236}">
                <a16:creationId xmlns:a16="http://schemas.microsoft.com/office/drawing/2014/main" id="{8FB70335-3D96-470D-AFC7-2F477DA9954F}"/>
              </a:ext>
            </a:extLst>
          </p:cNvPr>
          <p:cNvPicPr>
            <a:picLocks noChangeAspect="1"/>
          </p:cNvPicPr>
          <p:nvPr/>
        </p:nvPicPr>
        <p:blipFill>
          <a:blip r:embed="rId11"/>
          <a:stretch>
            <a:fillRect/>
          </a:stretch>
        </p:blipFill>
        <p:spPr>
          <a:xfrm>
            <a:off x="10147803" y="2189531"/>
            <a:ext cx="786940" cy="786940"/>
          </a:xfrm>
          <a:prstGeom prst="rect">
            <a:avLst/>
          </a:prstGeom>
        </p:spPr>
      </p:pic>
      <p:sp>
        <p:nvSpPr>
          <p:cNvPr id="31" name="Rectangle 30">
            <a:extLst>
              <a:ext uri="{FF2B5EF4-FFF2-40B4-BE49-F238E27FC236}">
                <a16:creationId xmlns:a16="http://schemas.microsoft.com/office/drawing/2014/main" id="{316C5857-756B-4FE0-BB48-7E7823F0D559}"/>
              </a:ext>
            </a:extLst>
          </p:cNvPr>
          <p:cNvSpPr/>
          <p:nvPr/>
        </p:nvSpPr>
        <p:spPr>
          <a:xfrm>
            <a:off x="-2859985" y="0"/>
            <a:ext cx="2664296" cy="720080"/>
          </a:xfrm>
          <a:prstGeom prst="rect">
            <a:avLst/>
          </a:prstGeom>
          <a:solidFill>
            <a:srgbClr val="FFFED9"/>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Presenter: Flo</a:t>
            </a:r>
            <a:endParaRPr lang="en-US">
              <a:solidFill>
                <a:schemeClr val="tx1"/>
              </a:solidFill>
            </a:endParaRPr>
          </a:p>
        </p:txBody>
      </p:sp>
    </p:spTree>
    <p:extLst>
      <p:ext uri="{BB962C8B-B14F-4D97-AF65-F5344CB8AC3E}">
        <p14:creationId xmlns:p14="http://schemas.microsoft.com/office/powerpoint/2010/main" val="27064603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6EA67C-C529-4A75-9010-031ADB77E986}"/>
              </a:ext>
            </a:extLst>
          </p:cNvPr>
          <p:cNvGraphicFramePr>
            <a:graphicFrameLocks noChangeAspect="1"/>
          </p:cNvGraphicFramePr>
          <p:nvPr>
            <p:custDataLst>
              <p:tags r:id="rId2"/>
            </p:custDataLst>
            <p:extLst>
              <p:ext uri="{D42A27DB-BD31-4B8C-83A1-F6EECF244321}">
                <p14:modId xmlns:p14="http://schemas.microsoft.com/office/powerpoint/2010/main" val="58809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5" imgW="592" imgH="591" progId="TCLayout.ActiveDocument.1">
                  <p:embed/>
                </p:oleObj>
              </mc:Choice>
              <mc:Fallback>
                <p:oleObj name="think-cell Slide" r:id="rId5" imgW="592" imgH="591" progId="TCLayout.ActiveDocument.1">
                  <p:embed/>
                  <p:pic>
                    <p:nvPicPr>
                      <p:cNvPr id="6" name="think-cell data - do not delete" hidden="1">
                        <a:extLst>
                          <a:ext uri="{FF2B5EF4-FFF2-40B4-BE49-F238E27FC236}">
                            <a16:creationId xmlns:a16="http://schemas.microsoft.com/office/drawing/2014/main" id="{996EA67C-C529-4A75-9010-031ADB77E9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470236-B875-4453-8469-1E0FE2832721}"/>
              </a:ext>
            </a:extLst>
          </p:cNvPr>
          <p:cNvSpPr>
            <a:spLocks noGrp="1"/>
          </p:cNvSpPr>
          <p:nvPr>
            <p:ph type="title"/>
          </p:nvPr>
        </p:nvSpPr>
        <p:spPr/>
        <p:txBody>
          <a:bodyPr vert="horz"/>
          <a:lstStyle/>
          <a:p>
            <a:r>
              <a:rPr lang="en-US"/>
              <a:t>Outlook</a:t>
            </a:r>
          </a:p>
        </p:txBody>
      </p:sp>
      <p:sp>
        <p:nvSpPr>
          <p:cNvPr id="4" name="Slide Number Placeholder 3">
            <a:extLst>
              <a:ext uri="{FF2B5EF4-FFF2-40B4-BE49-F238E27FC236}">
                <a16:creationId xmlns:a16="http://schemas.microsoft.com/office/drawing/2014/main" id="{D85BBE46-F288-4314-8F46-BFB99BFC02F4}"/>
              </a:ext>
            </a:extLst>
          </p:cNvPr>
          <p:cNvSpPr>
            <a:spLocks noGrp="1"/>
          </p:cNvSpPr>
          <p:nvPr>
            <p:ph type="sldNum" sz="quarter" idx="4"/>
          </p:nvPr>
        </p:nvSpPr>
        <p:spPr/>
        <p:txBody>
          <a:bodyPr/>
          <a:lstStyle/>
          <a:p>
            <a:fld id="{1FF5481D-800C-4F34-B3D6-C18BC0A4FD2D}" type="slidenum">
              <a:rPr lang="de-CH" smtClean="0"/>
              <a:pPr/>
              <a:t>9</a:t>
            </a:fld>
            <a:endParaRPr lang="de-CH"/>
          </a:p>
        </p:txBody>
      </p:sp>
      <p:sp>
        <p:nvSpPr>
          <p:cNvPr id="5" name="Footer Placeholder 4">
            <a:extLst>
              <a:ext uri="{FF2B5EF4-FFF2-40B4-BE49-F238E27FC236}">
                <a16:creationId xmlns:a16="http://schemas.microsoft.com/office/drawing/2014/main" id="{D198EF02-B9A4-4BDB-AA99-1359935AD35A}"/>
              </a:ext>
            </a:extLst>
          </p:cNvPr>
          <p:cNvSpPr>
            <a:spLocks noGrp="1"/>
          </p:cNvSpPr>
          <p:nvPr>
            <p:ph type="ftr" sz="quarter" idx="3"/>
          </p:nvPr>
        </p:nvSpPr>
        <p:spPr/>
        <p:txBody>
          <a:bodyPr/>
          <a:lstStyle/>
          <a:p>
            <a:r>
              <a:rPr lang="en-US" noProof="0"/>
              <a:t>Prof. Damian </a:t>
            </a:r>
            <a:r>
              <a:rPr lang="en-US" noProof="0" err="1"/>
              <a:t>Borth</a:t>
            </a:r>
            <a:r>
              <a:rPr lang="en-US" noProof="0"/>
              <a:t> - Artificial Intelligence &amp; Machine Learning [AIML]</a:t>
            </a:r>
          </a:p>
        </p:txBody>
      </p:sp>
      <p:sp>
        <p:nvSpPr>
          <p:cNvPr id="8" name="Oval 7">
            <a:extLst>
              <a:ext uri="{FF2B5EF4-FFF2-40B4-BE49-F238E27FC236}">
                <a16:creationId xmlns:a16="http://schemas.microsoft.com/office/drawing/2014/main" id="{B572BE85-79FB-487C-89F0-218DD1272BA5}"/>
              </a:ext>
            </a:extLst>
          </p:cNvPr>
          <p:cNvSpPr/>
          <p:nvPr/>
        </p:nvSpPr>
        <p:spPr>
          <a:xfrm>
            <a:off x="3208685" y="1917129"/>
            <a:ext cx="1636545" cy="1636545"/>
          </a:xfrm>
          <a:prstGeom prst="ellipse">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D04CBF3A-496E-49F7-9234-1F6EDC84FB60}"/>
              </a:ext>
            </a:extLst>
          </p:cNvPr>
          <p:cNvSpPr/>
          <p:nvPr/>
        </p:nvSpPr>
        <p:spPr>
          <a:xfrm>
            <a:off x="5430924" y="1917129"/>
            <a:ext cx="1636545" cy="1636545"/>
          </a:xfrm>
          <a:prstGeom prst="ellipse">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C510BE83-6BEC-40BF-A83E-A7C105B88C71}"/>
              </a:ext>
            </a:extLst>
          </p:cNvPr>
          <p:cNvSpPr/>
          <p:nvPr/>
        </p:nvSpPr>
        <p:spPr>
          <a:xfrm>
            <a:off x="7653162" y="1917129"/>
            <a:ext cx="1636545" cy="1636545"/>
          </a:xfrm>
          <a:prstGeom prst="ellipse">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01729631-A951-4CF7-A99B-50EEED8F61B6}"/>
              </a:ext>
            </a:extLst>
          </p:cNvPr>
          <p:cNvSpPr/>
          <p:nvPr/>
        </p:nvSpPr>
        <p:spPr>
          <a:xfrm>
            <a:off x="9875400" y="1917129"/>
            <a:ext cx="1636545" cy="1636545"/>
          </a:xfrm>
          <a:prstGeom prst="ellipse">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7E81E8CD-184D-4A0C-8475-EA5357E643AD}"/>
              </a:ext>
            </a:extLst>
          </p:cNvPr>
          <p:cNvSpPr/>
          <p:nvPr/>
        </p:nvSpPr>
        <p:spPr>
          <a:xfrm>
            <a:off x="986447" y="1917129"/>
            <a:ext cx="1636545" cy="1636545"/>
          </a:xfrm>
          <a:prstGeom prst="ellipse">
            <a:avLst/>
          </a:prstGeom>
          <a:solidFill>
            <a:srgbClr val="D9D9D9"/>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FC549DC3-0E68-4BBF-B485-95BFC93ADD85}"/>
              </a:ext>
            </a:extLst>
          </p:cNvPr>
          <p:cNvSpPr/>
          <p:nvPr/>
        </p:nvSpPr>
        <p:spPr>
          <a:xfrm>
            <a:off x="834047" y="1764729"/>
            <a:ext cx="1636545" cy="1636545"/>
          </a:xfrm>
          <a:prstGeom prst="ellipse">
            <a:avLst/>
          </a:prstGeom>
          <a:solidFill>
            <a:srgbClr val="00802F"/>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E69B946-8F3E-4CD1-9B6E-B015C009D43C}"/>
              </a:ext>
            </a:extLst>
          </p:cNvPr>
          <p:cNvSpPr/>
          <p:nvPr/>
        </p:nvSpPr>
        <p:spPr>
          <a:xfrm>
            <a:off x="3056285" y="1764729"/>
            <a:ext cx="1636545" cy="1636545"/>
          </a:xfrm>
          <a:prstGeom prst="ellipse">
            <a:avLst/>
          </a:prstGeom>
          <a:solidFill>
            <a:srgbClr val="00802F"/>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954E8EA2-374A-4A46-8DD1-974F701D2E0E}"/>
              </a:ext>
            </a:extLst>
          </p:cNvPr>
          <p:cNvSpPr/>
          <p:nvPr/>
        </p:nvSpPr>
        <p:spPr>
          <a:xfrm>
            <a:off x="5278524" y="1764729"/>
            <a:ext cx="1636545" cy="1636545"/>
          </a:xfrm>
          <a:prstGeom prst="ellipse">
            <a:avLst/>
          </a:prstGeom>
          <a:solidFill>
            <a:srgbClr val="00802F"/>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C4A349D-326D-4B6D-9D85-BAE5027507A1}"/>
              </a:ext>
            </a:extLst>
          </p:cNvPr>
          <p:cNvSpPr/>
          <p:nvPr/>
        </p:nvSpPr>
        <p:spPr>
          <a:xfrm>
            <a:off x="7500762" y="1764729"/>
            <a:ext cx="1636545" cy="1636545"/>
          </a:xfrm>
          <a:prstGeom prst="ellipse">
            <a:avLst/>
          </a:prstGeom>
          <a:solidFill>
            <a:srgbClr val="00802F"/>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75488B01-BB8B-4A17-BE67-033413E31BFA}"/>
              </a:ext>
            </a:extLst>
          </p:cNvPr>
          <p:cNvSpPr/>
          <p:nvPr/>
        </p:nvSpPr>
        <p:spPr>
          <a:xfrm>
            <a:off x="9723000" y="1764729"/>
            <a:ext cx="1636545" cy="1636545"/>
          </a:xfrm>
          <a:prstGeom prst="ellipse">
            <a:avLst/>
          </a:prstGeom>
          <a:solidFill>
            <a:srgbClr val="00802F"/>
          </a:solidFill>
          <a:ln w="12700" cap="flat" cmpd="sng" algn="ctr">
            <a:noFill/>
            <a:prstDash val="solid"/>
          </a:ln>
          <a:effectLst/>
          <a:extLs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46B607F-C9C8-470A-A17B-31C4A09E7A7E}"/>
              </a:ext>
            </a:extLst>
          </p:cNvPr>
          <p:cNvSpPr/>
          <p:nvPr/>
        </p:nvSpPr>
        <p:spPr>
          <a:xfrm>
            <a:off x="753910" y="4204862"/>
            <a:ext cx="1949218" cy="516898"/>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CH" sz="1900" b="1" err="1">
                <a:solidFill>
                  <a:srgbClr val="00802F"/>
                </a:solidFill>
                <a:latin typeface="Titillium Web"/>
              </a:rPr>
              <a:t>Inclusion</a:t>
            </a:r>
            <a:r>
              <a:rPr lang="de-CH" sz="1900" b="1">
                <a:solidFill>
                  <a:srgbClr val="00802F"/>
                </a:solidFill>
                <a:latin typeface="Titillium Web"/>
              </a:rPr>
              <a:t> of </a:t>
            </a:r>
            <a:br>
              <a:rPr lang="de-CH" sz="1900" b="1">
                <a:solidFill>
                  <a:srgbClr val="00802F"/>
                </a:solidFill>
                <a:latin typeface="Titillium Web"/>
              </a:rPr>
            </a:br>
            <a:r>
              <a:rPr lang="de-CH" sz="1900" b="1">
                <a:solidFill>
                  <a:srgbClr val="00802F"/>
                </a:solidFill>
                <a:latin typeface="Titillium Web"/>
              </a:rPr>
              <a:t>NDVI </a:t>
            </a:r>
            <a:r>
              <a:rPr lang="de-CH" sz="1900" b="1" err="1">
                <a:solidFill>
                  <a:srgbClr val="00802F"/>
                </a:solidFill>
                <a:latin typeface="Titillium Web"/>
              </a:rPr>
              <a:t>features</a:t>
            </a:r>
            <a:r>
              <a:rPr lang="de-CH" sz="1900" b="1">
                <a:solidFill>
                  <a:srgbClr val="00802F"/>
                </a:solidFill>
                <a:latin typeface="Titillium Web"/>
              </a:rPr>
              <a:t> </a:t>
            </a:r>
            <a:r>
              <a:rPr lang="de-CH" sz="1900" b="1" err="1">
                <a:solidFill>
                  <a:srgbClr val="00802F"/>
                </a:solidFill>
                <a:latin typeface="Titillium Web"/>
              </a:rPr>
              <a:t>during</a:t>
            </a:r>
            <a:r>
              <a:rPr lang="de-CH" sz="1900" b="1">
                <a:solidFill>
                  <a:srgbClr val="00802F"/>
                </a:solidFill>
                <a:latin typeface="Titillium Web"/>
              </a:rPr>
              <a:t> </a:t>
            </a:r>
            <a:r>
              <a:rPr lang="de-CH" sz="1900" b="1" err="1">
                <a:solidFill>
                  <a:srgbClr val="00802F"/>
                </a:solidFill>
                <a:latin typeface="Titillium Web"/>
              </a:rPr>
              <a:t>training</a:t>
            </a:r>
            <a:endParaRPr lang="de-CH" sz="1900" b="1">
              <a:solidFill>
                <a:srgbClr val="00802F"/>
              </a:solidFill>
              <a:latin typeface="Titillium Web"/>
            </a:endParaRPr>
          </a:p>
        </p:txBody>
      </p:sp>
      <p:sp>
        <p:nvSpPr>
          <p:cNvPr id="19" name="Rectangle 18">
            <a:extLst>
              <a:ext uri="{FF2B5EF4-FFF2-40B4-BE49-F238E27FC236}">
                <a16:creationId xmlns:a16="http://schemas.microsoft.com/office/drawing/2014/main" id="{2365B9CE-C52A-4A70-B031-8BC883446E35}"/>
              </a:ext>
            </a:extLst>
          </p:cNvPr>
          <p:cNvSpPr/>
          <p:nvPr/>
        </p:nvSpPr>
        <p:spPr>
          <a:xfrm>
            <a:off x="2899948" y="4204862"/>
            <a:ext cx="1949218" cy="516898"/>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CH" sz="1900" b="1">
                <a:solidFill>
                  <a:srgbClr val="00802F"/>
                </a:solidFill>
                <a:latin typeface="Titillium Web"/>
              </a:rPr>
              <a:t>Deep-dive </a:t>
            </a:r>
            <a:br>
              <a:rPr lang="de-CH" sz="1900" b="1">
                <a:solidFill>
                  <a:srgbClr val="00802F"/>
                </a:solidFill>
                <a:latin typeface="Titillium Web"/>
              </a:rPr>
            </a:br>
            <a:r>
              <a:rPr lang="de-CH" sz="1900" b="1">
                <a:solidFill>
                  <a:srgbClr val="00802F"/>
                </a:solidFill>
                <a:latin typeface="Titillium Web"/>
              </a:rPr>
              <a:t>in Domain Adaptation</a:t>
            </a:r>
            <a:endParaRPr lang="en-US" sz="1900" b="1">
              <a:solidFill>
                <a:srgbClr val="00802F"/>
              </a:solidFill>
              <a:latin typeface="Titillium Web"/>
            </a:endParaRPr>
          </a:p>
        </p:txBody>
      </p:sp>
      <p:sp>
        <p:nvSpPr>
          <p:cNvPr id="20" name="Rectangle 19">
            <a:extLst>
              <a:ext uri="{FF2B5EF4-FFF2-40B4-BE49-F238E27FC236}">
                <a16:creationId xmlns:a16="http://schemas.microsoft.com/office/drawing/2014/main" id="{B4304155-3969-42ED-B776-A10C5125C953}"/>
              </a:ext>
            </a:extLst>
          </p:cNvPr>
          <p:cNvSpPr/>
          <p:nvPr/>
        </p:nvSpPr>
        <p:spPr>
          <a:xfrm>
            <a:off x="5102598" y="4204862"/>
            <a:ext cx="1988397" cy="516898"/>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CH" sz="1900" b="1">
                <a:solidFill>
                  <a:srgbClr val="00802F"/>
                </a:solidFill>
                <a:latin typeface="Titillium Web"/>
              </a:rPr>
              <a:t>Implementation of Hyperparameter Tuning</a:t>
            </a:r>
            <a:endParaRPr lang="en-US" sz="1900" b="1">
              <a:solidFill>
                <a:srgbClr val="00802F"/>
              </a:solidFill>
              <a:latin typeface="Titillium Web"/>
            </a:endParaRPr>
          </a:p>
        </p:txBody>
      </p:sp>
      <p:sp>
        <p:nvSpPr>
          <p:cNvPr id="21" name="Rectangle 20">
            <a:extLst>
              <a:ext uri="{FF2B5EF4-FFF2-40B4-BE49-F238E27FC236}">
                <a16:creationId xmlns:a16="http://schemas.microsoft.com/office/drawing/2014/main" id="{154A4CFE-DDD9-40C1-839A-0255C461E215}"/>
              </a:ext>
            </a:extLst>
          </p:cNvPr>
          <p:cNvSpPr/>
          <p:nvPr/>
        </p:nvSpPr>
        <p:spPr>
          <a:xfrm>
            <a:off x="7324837" y="4204862"/>
            <a:ext cx="1988397" cy="516898"/>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CH" sz="1900" b="1">
                <a:solidFill>
                  <a:srgbClr val="00802F"/>
                </a:solidFill>
                <a:latin typeface="Titillium Web"/>
              </a:rPr>
              <a:t>Training </a:t>
            </a:r>
            <a:r>
              <a:rPr lang="de-CH" sz="1900" b="1" err="1">
                <a:solidFill>
                  <a:srgbClr val="00802F"/>
                </a:solidFill>
                <a:latin typeface="Titillium Web"/>
              </a:rPr>
              <a:t>with</a:t>
            </a:r>
            <a:r>
              <a:rPr lang="de-CH" sz="1900" b="1">
                <a:solidFill>
                  <a:srgbClr val="00802F"/>
                </a:solidFill>
                <a:latin typeface="Titillium Web"/>
              </a:rPr>
              <a:t> </a:t>
            </a:r>
            <a:r>
              <a:rPr lang="de-CH" sz="1900" b="1" err="1">
                <a:solidFill>
                  <a:srgbClr val="00802F"/>
                </a:solidFill>
                <a:latin typeface="Titillium Web"/>
              </a:rPr>
              <a:t>cross</a:t>
            </a:r>
            <a:r>
              <a:rPr lang="de-CH" sz="1900" b="1">
                <a:solidFill>
                  <a:srgbClr val="00802F"/>
                </a:solidFill>
                <a:latin typeface="Titillium Web"/>
              </a:rPr>
              <a:t>-validation </a:t>
            </a:r>
            <a:r>
              <a:rPr lang="de-CH" sz="1900" b="1" err="1">
                <a:solidFill>
                  <a:srgbClr val="00802F"/>
                </a:solidFill>
                <a:latin typeface="Titillium Web"/>
              </a:rPr>
              <a:t>to</a:t>
            </a:r>
            <a:r>
              <a:rPr lang="de-CH" sz="1900" b="1">
                <a:solidFill>
                  <a:srgbClr val="00802F"/>
                </a:solidFill>
                <a:latin typeface="Titillium Web"/>
              </a:rPr>
              <a:t> </a:t>
            </a:r>
            <a:r>
              <a:rPr lang="de-CH" sz="1900" b="1" err="1">
                <a:solidFill>
                  <a:srgbClr val="00802F"/>
                </a:solidFill>
                <a:latin typeface="Titillium Web"/>
              </a:rPr>
              <a:t>reduce</a:t>
            </a:r>
            <a:r>
              <a:rPr lang="de-CH" sz="1900" b="1">
                <a:solidFill>
                  <a:srgbClr val="00802F"/>
                </a:solidFill>
                <a:latin typeface="Titillium Web"/>
              </a:rPr>
              <a:t> </a:t>
            </a:r>
            <a:r>
              <a:rPr lang="de-CH" sz="1900" b="1" err="1">
                <a:solidFill>
                  <a:srgbClr val="00802F"/>
                </a:solidFill>
                <a:latin typeface="Titillium Web"/>
              </a:rPr>
              <a:t>overfitting</a:t>
            </a:r>
            <a:r>
              <a:rPr lang="de-CH" sz="1900" b="1">
                <a:solidFill>
                  <a:srgbClr val="00802F"/>
                </a:solidFill>
                <a:latin typeface="Titillium Web"/>
              </a:rPr>
              <a:t> </a:t>
            </a:r>
            <a:endParaRPr lang="en-US" sz="1900" b="1">
              <a:solidFill>
                <a:srgbClr val="00802F"/>
              </a:solidFill>
              <a:latin typeface="Titillium Web"/>
            </a:endParaRPr>
          </a:p>
        </p:txBody>
      </p:sp>
      <p:sp>
        <p:nvSpPr>
          <p:cNvPr id="22" name="Rectangle 21">
            <a:extLst>
              <a:ext uri="{FF2B5EF4-FFF2-40B4-BE49-F238E27FC236}">
                <a16:creationId xmlns:a16="http://schemas.microsoft.com/office/drawing/2014/main" id="{C8CB5717-3662-4B39-8026-07394771550D}"/>
              </a:ext>
            </a:extLst>
          </p:cNvPr>
          <p:cNvSpPr/>
          <p:nvPr/>
        </p:nvSpPr>
        <p:spPr>
          <a:xfrm>
            <a:off x="9547074" y="4204862"/>
            <a:ext cx="1988397" cy="516898"/>
          </a:xfrm>
          <a:prstGeom prst="rect">
            <a:avLst/>
          </a:prstGeom>
          <a:noFill/>
          <a:ln w="12700" cap="flat" cmpd="sng" algn="ctr">
            <a:noFill/>
            <a:prstDash val="solid"/>
          </a:ln>
          <a:effectLst/>
          <a:extLst>
            <a:ext uri="{909E8E84-426E-40DD-AFC4-6F175D3DCCD1}">
              <a14:hiddenFill xmlns:a14="http://schemas.microsoft.com/office/drawing/2010/main">
                <a:solidFill>
                  <a:srgbClr val="FFFED9"/>
                </a:solidFill>
              </a14:hiddenFill>
            </a:ext>
            <a:ext uri="{91240B29-F687-4F45-9708-019B960494DF}">
              <a14:hiddenLine xmlns:a14="http://schemas.microsoft.com/office/drawing/2010/main" w="12700" cap="flat" cmpd="sng" algn="ctr">
                <a:solidFill>
                  <a:schemeClr val="tx1">
                    <a:lumMod val="95000"/>
                    <a:lumOff val="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CH" sz="1900" b="1">
                <a:solidFill>
                  <a:srgbClr val="00802F"/>
                </a:solidFill>
                <a:latin typeface="Titillium Web"/>
              </a:rPr>
              <a:t>Ensemble learning by combining various models</a:t>
            </a:r>
            <a:endParaRPr lang="en-US" sz="1900" b="1">
              <a:solidFill>
                <a:srgbClr val="00802F"/>
              </a:solidFill>
              <a:latin typeface="Titillium Web"/>
            </a:endParaRPr>
          </a:p>
        </p:txBody>
      </p:sp>
      <p:pic>
        <p:nvPicPr>
          <p:cNvPr id="35" name="Picture 34">
            <a:extLst>
              <a:ext uri="{FF2B5EF4-FFF2-40B4-BE49-F238E27FC236}">
                <a16:creationId xmlns:a16="http://schemas.microsoft.com/office/drawing/2014/main" id="{86278CE0-05C7-4D95-BD9E-A28227B910C2}"/>
              </a:ext>
            </a:extLst>
          </p:cNvPr>
          <p:cNvPicPr>
            <a:picLocks noChangeAspect="1"/>
          </p:cNvPicPr>
          <p:nvPr/>
        </p:nvPicPr>
        <p:blipFill>
          <a:blip r:embed="rId7"/>
          <a:stretch>
            <a:fillRect/>
          </a:stretch>
        </p:blipFill>
        <p:spPr>
          <a:xfrm>
            <a:off x="979263" y="1909944"/>
            <a:ext cx="1346115" cy="1346115"/>
          </a:xfrm>
          <a:prstGeom prst="rect">
            <a:avLst/>
          </a:prstGeom>
        </p:spPr>
      </p:pic>
      <p:pic>
        <p:nvPicPr>
          <p:cNvPr id="37" name="Picture 36">
            <a:extLst>
              <a:ext uri="{FF2B5EF4-FFF2-40B4-BE49-F238E27FC236}">
                <a16:creationId xmlns:a16="http://schemas.microsoft.com/office/drawing/2014/main" id="{36A3BDED-6A56-4FC7-9DD5-A95FB85049A8}"/>
              </a:ext>
            </a:extLst>
          </p:cNvPr>
          <p:cNvPicPr>
            <a:picLocks noChangeAspect="1"/>
          </p:cNvPicPr>
          <p:nvPr/>
        </p:nvPicPr>
        <p:blipFill>
          <a:blip r:embed="rId8"/>
          <a:stretch>
            <a:fillRect/>
          </a:stretch>
        </p:blipFill>
        <p:spPr>
          <a:xfrm>
            <a:off x="3420181" y="2128626"/>
            <a:ext cx="908750" cy="908750"/>
          </a:xfrm>
          <a:prstGeom prst="rect">
            <a:avLst/>
          </a:prstGeom>
        </p:spPr>
      </p:pic>
      <p:cxnSp>
        <p:nvCxnSpPr>
          <p:cNvPr id="38" name="Straight Connector 37">
            <a:extLst>
              <a:ext uri="{FF2B5EF4-FFF2-40B4-BE49-F238E27FC236}">
                <a16:creationId xmlns:a16="http://schemas.microsoft.com/office/drawing/2014/main" id="{2D97DA14-B5AB-4C1D-971B-2902B1B8065F}"/>
              </a:ext>
            </a:extLst>
          </p:cNvPr>
          <p:cNvCxnSpPr>
            <a:cxnSpLocks/>
          </p:cNvCxnSpPr>
          <p:nvPr/>
        </p:nvCxnSpPr>
        <p:spPr>
          <a:xfrm>
            <a:off x="753910" y="3953695"/>
            <a:ext cx="1949218"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2A5694F-5DC9-4528-BC9A-CE2A0BEB00CF}"/>
              </a:ext>
            </a:extLst>
          </p:cNvPr>
          <p:cNvCxnSpPr>
            <a:cxnSpLocks/>
          </p:cNvCxnSpPr>
          <p:nvPr/>
        </p:nvCxnSpPr>
        <p:spPr>
          <a:xfrm>
            <a:off x="2899948" y="3953695"/>
            <a:ext cx="1949218"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990A099-768E-44A5-AE92-6245C681DE22}"/>
              </a:ext>
            </a:extLst>
          </p:cNvPr>
          <p:cNvCxnSpPr>
            <a:cxnSpLocks/>
          </p:cNvCxnSpPr>
          <p:nvPr/>
        </p:nvCxnSpPr>
        <p:spPr>
          <a:xfrm>
            <a:off x="5122187" y="3953695"/>
            <a:ext cx="1949218"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3C54A2-9FFA-48B5-B3F0-1543CE33694E}"/>
              </a:ext>
            </a:extLst>
          </p:cNvPr>
          <p:cNvCxnSpPr>
            <a:cxnSpLocks/>
          </p:cNvCxnSpPr>
          <p:nvPr/>
        </p:nvCxnSpPr>
        <p:spPr>
          <a:xfrm>
            <a:off x="7344425" y="3953695"/>
            <a:ext cx="1949218"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CBD2275-5223-499C-ADCB-06E309CA3FBA}"/>
              </a:ext>
            </a:extLst>
          </p:cNvPr>
          <p:cNvCxnSpPr>
            <a:cxnSpLocks/>
          </p:cNvCxnSpPr>
          <p:nvPr/>
        </p:nvCxnSpPr>
        <p:spPr>
          <a:xfrm>
            <a:off x="9566662" y="3953695"/>
            <a:ext cx="1949218" cy="0"/>
          </a:xfrm>
          <a:prstGeom prst="line">
            <a:avLst/>
          </a:prstGeom>
          <a:ln w="12700" cap="flat" cmpd="sng" algn="ctr">
            <a:solidFill>
              <a:srgbClr val="00802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C698DE76-1BB8-4E14-902B-03DC3002E2A7}"/>
              </a:ext>
            </a:extLst>
          </p:cNvPr>
          <p:cNvPicPr>
            <a:picLocks noChangeAspect="1"/>
          </p:cNvPicPr>
          <p:nvPr/>
        </p:nvPicPr>
        <p:blipFill>
          <a:blip r:embed="rId9"/>
          <a:stretch>
            <a:fillRect/>
          </a:stretch>
        </p:blipFill>
        <p:spPr>
          <a:xfrm>
            <a:off x="5634396" y="2120600"/>
            <a:ext cx="924802" cy="924802"/>
          </a:xfrm>
          <a:prstGeom prst="rect">
            <a:avLst/>
          </a:prstGeom>
        </p:spPr>
      </p:pic>
      <p:pic>
        <p:nvPicPr>
          <p:cNvPr id="46" name="Picture 45">
            <a:extLst>
              <a:ext uri="{FF2B5EF4-FFF2-40B4-BE49-F238E27FC236}">
                <a16:creationId xmlns:a16="http://schemas.microsoft.com/office/drawing/2014/main" id="{4E473E8B-441C-40CA-92B0-8F5C46B9D2F7}"/>
              </a:ext>
            </a:extLst>
          </p:cNvPr>
          <p:cNvPicPr>
            <a:picLocks noChangeAspect="1"/>
          </p:cNvPicPr>
          <p:nvPr/>
        </p:nvPicPr>
        <p:blipFill>
          <a:blip r:embed="rId10"/>
          <a:stretch>
            <a:fillRect/>
          </a:stretch>
        </p:blipFill>
        <p:spPr>
          <a:xfrm>
            <a:off x="7898602" y="2162569"/>
            <a:ext cx="840864" cy="840864"/>
          </a:xfrm>
          <a:prstGeom prst="rect">
            <a:avLst/>
          </a:prstGeom>
        </p:spPr>
      </p:pic>
      <p:pic>
        <p:nvPicPr>
          <p:cNvPr id="48" name="Picture 47">
            <a:extLst>
              <a:ext uri="{FF2B5EF4-FFF2-40B4-BE49-F238E27FC236}">
                <a16:creationId xmlns:a16="http://schemas.microsoft.com/office/drawing/2014/main" id="{2BA6DA9C-A70F-4688-A96F-C4D428EE5E01}"/>
              </a:ext>
            </a:extLst>
          </p:cNvPr>
          <p:cNvPicPr>
            <a:picLocks noChangeAspect="1"/>
          </p:cNvPicPr>
          <p:nvPr/>
        </p:nvPicPr>
        <p:blipFill>
          <a:blip r:embed="rId11"/>
          <a:stretch>
            <a:fillRect/>
          </a:stretch>
        </p:blipFill>
        <p:spPr>
          <a:xfrm>
            <a:off x="9847696" y="1889425"/>
            <a:ext cx="1387155" cy="1387155"/>
          </a:xfrm>
          <a:prstGeom prst="rect">
            <a:avLst/>
          </a:prstGeom>
        </p:spPr>
      </p:pic>
      <p:sp>
        <p:nvSpPr>
          <p:cNvPr id="31" name="Rectangle 30">
            <a:extLst>
              <a:ext uri="{FF2B5EF4-FFF2-40B4-BE49-F238E27FC236}">
                <a16:creationId xmlns:a16="http://schemas.microsoft.com/office/drawing/2014/main" id="{EBADFA29-A9F9-464D-BC5A-D5C39FD6F61A}"/>
              </a:ext>
            </a:extLst>
          </p:cNvPr>
          <p:cNvSpPr/>
          <p:nvPr/>
        </p:nvSpPr>
        <p:spPr>
          <a:xfrm>
            <a:off x="-2859985" y="0"/>
            <a:ext cx="2664296" cy="720080"/>
          </a:xfrm>
          <a:prstGeom prst="rect">
            <a:avLst/>
          </a:prstGeom>
          <a:solidFill>
            <a:srgbClr val="FFFED9"/>
          </a:solidFill>
          <a:ln w="127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solidFill>
                  <a:schemeClr val="tx1"/>
                </a:solidFill>
              </a:rPr>
              <a:t>Presenter: Flo</a:t>
            </a:r>
            <a:endParaRPr lang="en-US">
              <a:solidFill>
                <a:schemeClr val="tx1"/>
              </a:solidFill>
            </a:endParaRPr>
          </a:p>
        </p:txBody>
      </p:sp>
    </p:spTree>
    <p:extLst>
      <p:ext uri="{BB962C8B-B14F-4D97-AF65-F5344CB8AC3E}">
        <p14:creationId xmlns:p14="http://schemas.microsoft.com/office/powerpoint/2010/main" val="641653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5e73f78-72b6-46fb-bf3b-7e329ad4e29b"/>
  <p:tag name="THINKCELLPRESENTATIONDONOTDELETE" val="&lt;?xml version=&quot;1.0&quot; encoding=&quot;UTF-16&quot; standalone=&quot;yes&quot;?&gt;&lt;root reqver=&quot;28224&quot;&gt;&lt;version val=&quot;3505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EA&quot; g=&quot;42&quot; b=&quot;35&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0u2jsZy5T.sHhLYmoRY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VVMl..qNUOKp8tnDYT8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JQfihwd.R6WfBF3CsaQ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4s8xU4AH1LLWteniRRw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ts8krU3mrespmpEwcVH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VbKIURTWCJYhQy9nK7q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KAo3_xqYm98WhL7vS3W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RZeE8GIgUyXkylKNiZj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0kP92t15KfBnVb75TCJ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s0jXoWkJ.vUsSlJWCbG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R43Hd48BnX7WXMfBvP1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ec3Q3_kXIZXMQZI_Gzu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j8LJcPFCaCXbQEmLe2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K3NZByoNtduWWE33mnm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8E5dkY62.NTLhkV37x.S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hf1EZrbbpqe8o9eNMNm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tdR6qSJcuzkC8VEzPeL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BFkMh.GClYCHPhhLbyP6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DtBYJ_Mth1RhCR.IzKA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vQe9PpAPsei5t6FAUkJ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itRIcp7bVpBBDJctdhu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EAEmBQjQF__gdw4f3UuM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qYEIoABHeJMMZJRbLrv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3vjOAducoaCK1t_Xm.s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FAJ9u0IB2q46t6c49DC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D2Tw9zZ0.WIUrjXuHr5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ynCnVnxEA7vCfAkZsvT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8S9Bpf0F4rQ5pZSO1bse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aHX0HscGkR4QYq4Oyl99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dn4CjFUGDaza__ukHJ4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q97HrPO1cRsUF4GtLrL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n78G5GnkWxb93_tcmFz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wBzBZGsocw4C3JWUIta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aiICDCNMYm8dIuGa_If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lt3eiQqj57G_QD.F6WsZQ"/>
</p:tagLst>
</file>

<file path=ppt/theme/theme1.xml><?xml version="1.0" encoding="utf-8"?>
<a:theme xmlns:a="http://schemas.openxmlformats.org/drawingml/2006/main" name="HSG - AIML Borth - Lecture">
  <a:themeElements>
    <a:clrScheme name="UNISG Grün">
      <a:dk1>
        <a:sysClr val="windowText" lastClr="000000"/>
      </a:dk1>
      <a:lt1>
        <a:sysClr val="window" lastClr="FFFFFF"/>
      </a:lt1>
      <a:dk2>
        <a:srgbClr val="115C2E"/>
      </a:dk2>
      <a:lt2>
        <a:srgbClr val="CCCCCC"/>
      </a:lt2>
      <a:accent1>
        <a:srgbClr val="115C2E"/>
      </a:accent1>
      <a:accent2>
        <a:srgbClr val="249662"/>
      </a:accent2>
      <a:accent3>
        <a:srgbClr val="54A47C"/>
      </a:accent3>
      <a:accent4>
        <a:srgbClr val="8FBFA9"/>
      </a:accent4>
      <a:accent5>
        <a:srgbClr val="ED904B"/>
      </a:accent5>
      <a:accent6>
        <a:srgbClr val="FAB73E"/>
      </a:accent6>
      <a:hlink>
        <a:srgbClr val="115C2E"/>
      </a:hlink>
      <a:folHlink>
        <a:srgbClr val="54A47C"/>
      </a:folHlink>
    </a:clrScheme>
    <a:fontScheme name="UNISG CD Arial">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ED9"/>
        </a:solidFill>
        <a:ln w="12700">
          <a:solidFill>
            <a:schemeClr val="tx1">
              <a:lumMod val="95000"/>
              <a:lumOff val="5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FF0000"/>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ln w="12700">
          <a:noFill/>
          <a:miter lim="800000"/>
          <a:headEnd/>
          <a:tailEnd/>
        </a:ln>
        <a:effectLst/>
      </a:spPr>
      <a:bodyPr vert="horz" wrap="none" lIns="0" tIns="0" rIns="0" bIns="0" numCol="1" rtlCol="0" anchor="t" anchorCtr="0" compatLnSpc="1">
        <a:prstTxWarp prst="textNoShape">
          <a:avLst/>
        </a:prstTxWarp>
        <a:noAutofit/>
      </a:bodyPr>
      <a:lstStyle>
        <a:defPPr algn="ctr">
          <a:defRPr sz="1400" dirty="0">
            <a:latin typeface="Titillium Web" pitchFamily="2" charset="77"/>
          </a:defRPr>
        </a:defPPr>
      </a:lstStyle>
    </a:txDef>
  </a:objectDefaults>
  <a:extraClrSchemeLst/>
  <a:extLst>
    <a:ext uri="{05A4C25C-085E-4340-85A3-A5531E510DB2}">
      <thm15:themeFamily xmlns:thm15="http://schemas.microsoft.com/office/thememl/2012/main" name="16-9_HSG_Studierende_DE.potx" id="{B264E04F-562E-4543-AFA0-43F41F9B922C}" vid="{15FE8CA8-E397-4A3D-9B9B-DF4CF2D7CA5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a606142-122d-42e1-8412-e8279efd62d0" xsi:nil="true"/>
    <lcf76f155ced4ddcb4097134ff3c332f xmlns="44d7a97f-f40f-4080-b4fd-3980d26d513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76E838699D3DE64499F231D08F27B70E" ma:contentTypeVersion="10" ma:contentTypeDescription="Ein neues Dokument erstellen." ma:contentTypeScope="" ma:versionID="a637f31d045bbd59367eb6594990594e">
  <xsd:schema xmlns:xsd="http://www.w3.org/2001/XMLSchema" xmlns:xs="http://www.w3.org/2001/XMLSchema" xmlns:p="http://schemas.microsoft.com/office/2006/metadata/properties" xmlns:ns2="44d7a97f-f40f-4080-b4fd-3980d26d5133" xmlns:ns3="7a606142-122d-42e1-8412-e8279efd62d0" targetNamespace="http://schemas.microsoft.com/office/2006/metadata/properties" ma:root="true" ma:fieldsID="014af052fe4b003f073e6277abda4448" ns2:_="" ns3:_="">
    <xsd:import namespace="44d7a97f-f40f-4080-b4fd-3980d26d5133"/>
    <xsd:import namespace="7a606142-122d-42e1-8412-e8279efd62d0"/>
    <xsd:element name="properties">
      <xsd:complexType>
        <xsd:sequence>
          <xsd:element name="documentManagement">
            <xsd:complexType>
              <xsd:all>
                <xsd:element ref="ns2:MediaServiceMetadata" minOccurs="0"/>
                <xsd:element ref="ns2:MediaServiceFastMetadata" minOccurs="0"/>
                <xsd:element ref="ns3:TaxCatchAll" minOccurs="0"/>
                <xsd:element ref="ns2:MediaServiceOCR" minOccurs="0"/>
                <xsd:element ref="ns2:MediaServiceGenerationTime" minOccurs="0"/>
                <xsd:element ref="ns2:MediaServiceEventHashCode"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d7a97f-f40f-4080-b4fd-3980d26d51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e6e639ec-35b1-4635-902a-5d545950234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a606142-122d-42e1-8412-e8279efd62d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98d07def-b655-4127-8070-64938a72fda0}" ma:internalName="TaxCatchAll" ma:showField="CatchAllData" ma:web="7a606142-122d-42e1-8412-e8279efd62d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5C138E-2FF6-4D77-897B-FBE42F1F8C05}">
  <ds:schemaRefs>
    <ds:schemaRef ds:uri="44d7a97f-f40f-4080-b4fd-3980d26d5133"/>
    <ds:schemaRef ds:uri="7a606142-122d-42e1-8412-e8279efd62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38FF425-5EAC-4819-81AC-AAF3650010FC}">
  <ds:schemaRefs>
    <ds:schemaRef ds:uri="44d7a97f-f40f-4080-b4fd-3980d26d5133"/>
    <ds:schemaRef ds:uri="7a606142-122d-42e1-8412-e8279efd62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48E0CEB-78AF-49B8-A463-176A87D4B52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Custom</PresentationFormat>
  <Slides>11</Slides>
  <Notes>10</Notes>
  <HiddenSlides>0</HiddenSlide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HSG - AIML Borth - Lecture</vt:lpstr>
      <vt:lpstr>Machine Learning - Coding Challenge - Spring 2023</vt:lpstr>
      <vt:lpstr>Team Introduction</vt:lpstr>
      <vt:lpstr>Our Journey in the Coding Challenge</vt:lpstr>
      <vt:lpstr>ResNet &amp; ResNeXt</vt:lpstr>
      <vt:lpstr>Vision Transformer</vt:lpstr>
      <vt:lpstr>Domain Adaptation (1/2) - Setup</vt:lpstr>
      <vt:lpstr>Domain Adaptation (2/2) - Result</vt:lpstr>
      <vt:lpstr>Learnings from the Challenge</vt:lpstr>
      <vt:lpstr>Outlook</vt:lpstr>
      <vt:lpstr>References</vt:lpstr>
      <vt:lpstr>PowerPoint Presentation</vt:lpstr>
    </vt:vector>
  </TitlesOfParts>
  <Manager/>
  <Company>University of St.Gallen (HS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ML] Lectures Slides (Prof. Borth)</dc:title>
  <dc:subject/>
  <dc:creator>Prof. Dr. Damian Borth</dc:creator>
  <cp:keywords/>
  <dc:description/>
  <cp:revision>1</cp:revision>
  <cp:lastPrinted>2018-12-13T17:50:02Z</cp:lastPrinted>
  <dcterms:created xsi:type="dcterms:W3CDTF">2016-04-12T09:28:03Z</dcterms:created>
  <dcterms:modified xsi:type="dcterms:W3CDTF">2023-05-22T11:38:1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E838699D3DE64499F231D08F27B70E</vt:lpwstr>
  </property>
  <property fmtid="{D5CDD505-2E9C-101B-9397-08002B2CF9AE}" pid="3" name="MediaServiceImageTags">
    <vt:lpwstr/>
  </property>
</Properties>
</file>